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1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charts/chart2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charts/chart3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rts/chart4.xml" ContentType="application/vnd.openxmlformats-officedocument.drawingml.chart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charts/chart5.xml" ContentType="application/vnd.openxmlformats-officedocument.drawingml.chart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3.xml" ContentType="application/vnd.openxmlformats-officedocument.presentationml.notesSl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42"/>
  </p:notesMasterIdLst>
  <p:sldIdLst>
    <p:sldId id="291" r:id="rId2"/>
    <p:sldId id="295" r:id="rId3"/>
    <p:sldId id="328" r:id="rId4"/>
    <p:sldId id="329" r:id="rId5"/>
    <p:sldId id="330" r:id="rId6"/>
    <p:sldId id="331" r:id="rId7"/>
    <p:sldId id="303" r:id="rId8"/>
    <p:sldId id="337" r:id="rId9"/>
    <p:sldId id="264" r:id="rId10"/>
    <p:sldId id="325" r:id="rId11"/>
    <p:sldId id="326" r:id="rId12"/>
    <p:sldId id="327" r:id="rId13"/>
    <p:sldId id="333" r:id="rId14"/>
    <p:sldId id="306" r:id="rId15"/>
    <p:sldId id="258" r:id="rId16"/>
    <p:sldId id="332" r:id="rId17"/>
    <p:sldId id="270" r:id="rId18"/>
    <p:sldId id="339" r:id="rId19"/>
    <p:sldId id="324" r:id="rId20"/>
    <p:sldId id="272" r:id="rId21"/>
    <p:sldId id="338" r:id="rId22"/>
    <p:sldId id="274" r:id="rId23"/>
    <p:sldId id="278" r:id="rId24"/>
    <p:sldId id="321" r:id="rId25"/>
    <p:sldId id="322" r:id="rId26"/>
    <p:sldId id="323" r:id="rId27"/>
    <p:sldId id="307" r:id="rId28"/>
    <p:sldId id="275" r:id="rId29"/>
    <p:sldId id="276" r:id="rId30"/>
    <p:sldId id="281" r:id="rId31"/>
    <p:sldId id="282" r:id="rId32"/>
    <p:sldId id="283" r:id="rId33"/>
    <p:sldId id="284" r:id="rId34"/>
    <p:sldId id="285" r:id="rId35"/>
    <p:sldId id="316" r:id="rId36"/>
    <p:sldId id="335" r:id="rId37"/>
    <p:sldId id="287" r:id="rId38"/>
    <p:sldId id="296" r:id="rId39"/>
    <p:sldId id="336" r:id="rId40"/>
    <p:sldId id="334" r:id="rId41"/>
  </p:sldIdLst>
  <p:sldSz cx="12192000" cy="6858000"/>
  <p:notesSz cx="6858000" cy="91440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F0BCEE-5221-4110-8791-5BF9FA1F9D8E}" v="61" dt="2025-10-08T11:04:09.558"/>
    <p1510:client id="{750296BF-E50B-462A-8007-186184777D43}" v="31646" dt="2025-10-08T16:11:36.120"/>
    <p1510:client id="{9C107BA7-38D7-99EC-662E-A412584702C1}" v="50" dt="2025-10-08T11:01:36.7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95" d="100"/>
          <a:sy n="95" d="100"/>
        </p:scale>
        <p:origin x="20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152" cy="73152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48" Type="http://schemas.microsoft.com/office/2016/11/relationships/changesInfo" Target="changesInfos/changesInfo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ianca Valencia" userId="51c2520d-ee94-456a-97e1-3c81a4ab4711" providerId="ADAL" clId="{E88B7EA2-5A0E-48E5-A03D-65DF42213D14}"/>
    <pc:docChg chg="undo custSel addSld modSld">
      <pc:chgData name="Bianca Valencia" userId="51c2520d-ee94-456a-97e1-3c81a4ab4711" providerId="ADAL" clId="{E88B7EA2-5A0E-48E5-A03D-65DF42213D14}" dt="2025-10-09T00:33:06.972" v="1764" actId="113"/>
      <pc:docMkLst>
        <pc:docMk/>
      </pc:docMkLst>
      <pc:sldChg chg="modSp">
        <pc:chgData name="Bianca Valencia" userId="51c2520d-ee94-456a-97e1-3c81a4ab4711" providerId="ADAL" clId="{E88B7EA2-5A0E-48E5-A03D-65DF42213D14}" dt="2025-10-08T11:04:09.558" v="1378"/>
        <pc:sldMkLst>
          <pc:docMk/>
          <pc:sldMk cId="1934462262" sldId="330"/>
        </pc:sldMkLst>
        <pc:picChg chg="mod">
          <ac:chgData name="Bianca Valencia" userId="51c2520d-ee94-456a-97e1-3c81a4ab4711" providerId="ADAL" clId="{E88B7EA2-5A0E-48E5-A03D-65DF42213D14}" dt="2025-10-08T11:04:09.558" v="1378"/>
          <ac:picMkLst>
            <pc:docMk/>
            <pc:sldMk cId="1934462262" sldId="330"/>
            <ac:picMk id="13" creationId="{8FE5B527-BE6A-EDD7-B26B-D7A767DCB80C}"/>
          </ac:picMkLst>
        </pc:picChg>
      </pc:sldChg>
      <pc:sldChg chg="addSp delSp modSp new mod">
        <pc:chgData name="Bianca Valencia" userId="51c2520d-ee94-456a-97e1-3c81a4ab4711" providerId="ADAL" clId="{E88B7EA2-5A0E-48E5-A03D-65DF42213D14}" dt="2025-10-08T11:05:22.207" v="1379" actId="20577"/>
        <pc:sldMkLst>
          <pc:docMk/>
          <pc:sldMk cId="4150906537" sldId="334"/>
        </pc:sldMkLst>
        <pc:spChg chg="mod">
          <ac:chgData name="Bianca Valencia" userId="51c2520d-ee94-456a-97e1-3c81a4ab4711" providerId="ADAL" clId="{E88B7EA2-5A0E-48E5-A03D-65DF42213D14}" dt="2025-10-08T07:21:33.015" v="1313" actId="20577"/>
          <ac:spMkLst>
            <pc:docMk/>
            <pc:sldMk cId="4150906537" sldId="334"/>
            <ac:spMk id="2" creationId="{3BD594D5-BF88-EA45-6A88-9B1B7CDB412C}"/>
          </ac:spMkLst>
        </pc:spChg>
        <pc:spChg chg="add mod">
          <ac:chgData name="Bianca Valencia" userId="51c2520d-ee94-456a-97e1-3c81a4ab4711" providerId="ADAL" clId="{E88B7EA2-5A0E-48E5-A03D-65DF42213D14}" dt="2025-10-08T07:21:51.742" v="1324" actId="20577"/>
          <ac:spMkLst>
            <pc:docMk/>
            <pc:sldMk cId="4150906537" sldId="334"/>
            <ac:spMk id="3" creationId="{451E4CE3-0E3D-46C3-3B97-3B1D565AF666}"/>
          </ac:spMkLst>
        </pc:spChg>
        <pc:spChg chg="add del mod">
          <ac:chgData name="Bianca Valencia" userId="51c2520d-ee94-456a-97e1-3c81a4ab4711" providerId="ADAL" clId="{E88B7EA2-5A0E-48E5-A03D-65DF42213D14}" dt="2025-10-08T06:39:30.042" v="549" actId="21"/>
          <ac:spMkLst>
            <pc:docMk/>
            <pc:sldMk cId="4150906537" sldId="334"/>
            <ac:spMk id="5" creationId="{7A0A501A-15C4-34A8-0C64-BB53E37F49E9}"/>
          </ac:spMkLst>
        </pc:spChg>
        <pc:spChg chg="add mod">
          <ac:chgData name="Bianca Valencia" userId="51c2520d-ee94-456a-97e1-3c81a4ab4711" providerId="ADAL" clId="{E88B7EA2-5A0E-48E5-A03D-65DF42213D14}" dt="2025-10-08T07:20:51.914" v="1309" actId="2711"/>
          <ac:spMkLst>
            <pc:docMk/>
            <pc:sldMk cId="4150906537" sldId="334"/>
            <ac:spMk id="6" creationId="{705C4BF3-0043-865B-21A2-B09F5C005AE2}"/>
          </ac:spMkLst>
        </pc:spChg>
        <pc:spChg chg="add del mod">
          <ac:chgData name="Bianca Valencia" userId="51c2520d-ee94-456a-97e1-3c81a4ab4711" providerId="ADAL" clId="{E88B7EA2-5A0E-48E5-A03D-65DF42213D14}" dt="2025-10-08T06:41:56.840" v="572" actId="21"/>
          <ac:spMkLst>
            <pc:docMk/>
            <pc:sldMk cId="4150906537" sldId="334"/>
            <ac:spMk id="7" creationId="{5FEFC94D-0592-35DD-0C07-51427F791182}"/>
          </ac:spMkLst>
        </pc:spChg>
        <pc:spChg chg="add del mod">
          <ac:chgData name="Bianca Valencia" userId="51c2520d-ee94-456a-97e1-3c81a4ab4711" providerId="ADAL" clId="{E88B7EA2-5A0E-48E5-A03D-65DF42213D14}" dt="2025-10-08T06:44:03.047" v="612" actId="21"/>
          <ac:spMkLst>
            <pc:docMk/>
            <pc:sldMk cId="4150906537" sldId="334"/>
            <ac:spMk id="8" creationId="{E1488794-64A1-45DA-14DF-2D6886375C91}"/>
          </ac:spMkLst>
        </pc:spChg>
        <pc:spChg chg="add mod ord">
          <ac:chgData name="Bianca Valencia" userId="51c2520d-ee94-456a-97e1-3c81a4ab4711" providerId="ADAL" clId="{E88B7EA2-5A0E-48E5-A03D-65DF42213D14}" dt="2025-10-08T06:54:41.511" v="1094" actId="1037"/>
          <ac:spMkLst>
            <pc:docMk/>
            <pc:sldMk cId="4150906537" sldId="334"/>
            <ac:spMk id="9" creationId="{3DCC66F9-A94E-90EB-4574-AE78619CDFED}"/>
          </ac:spMkLst>
        </pc:spChg>
        <pc:spChg chg="add del mod">
          <ac:chgData name="Bianca Valencia" userId="51c2520d-ee94-456a-97e1-3c81a4ab4711" providerId="ADAL" clId="{E88B7EA2-5A0E-48E5-A03D-65DF42213D14}" dt="2025-10-08T06:37:38.395" v="529" actId="478"/>
          <ac:spMkLst>
            <pc:docMk/>
            <pc:sldMk cId="4150906537" sldId="334"/>
            <ac:spMk id="10" creationId="{792B5F43-5111-E0EB-A380-74324464C517}"/>
          </ac:spMkLst>
        </pc:spChg>
        <pc:spChg chg="add del mod">
          <ac:chgData name="Bianca Valencia" userId="51c2520d-ee94-456a-97e1-3c81a4ab4711" providerId="ADAL" clId="{E88B7EA2-5A0E-48E5-A03D-65DF42213D14}" dt="2025-10-08T06:37:57.547" v="530" actId="478"/>
          <ac:spMkLst>
            <pc:docMk/>
            <pc:sldMk cId="4150906537" sldId="334"/>
            <ac:spMk id="11" creationId="{529635A1-C837-7ECC-AF0A-8AB4DB9641E4}"/>
          </ac:spMkLst>
        </pc:spChg>
        <pc:spChg chg="add mod">
          <ac:chgData name="Bianca Valencia" userId="51c2520d-ee94-456a-97e1-3c81a4ab4711" providerId="ADAL" clId="{E88B7EA2-5A0E-48E5-A03D-65DF42213D14}" dt="2025-10-08T07:19:42.622" v="1299" actId="1076"/>
          <ac:spMkLst>
            <pc:docMk/>
            <pc:sldMk cId="4150906537" sldId="334"/>
            <ac:spMk id="12" creationId="{EABFE0AF-588A-78CA-24C8-72B8E3C332BF}"/>
          </ac:spMkLst>
        </pc:spChg>
        <pc:spChg chg="add mod">
          <ac:chgData name="Bianca Valencia" userId="51c2520d-ee94-456a-97e1-3c81a4ab4711" providerId="ADAL" clId="{E88B7EA2-5A0E-48E5-A03D-65DF42213D14}" dt="2025-10-08T06:57:55.987" v="1132" actId="1037"/>
          <ac:spMkLst>
            <pc:docMk/>
            <pc:sldMk cId="4150906537" sldId="334"/>
            <ac:spMk id="13" creationId="{9DEBF232-9360-BA5F-B431-E02FFB474414}"/>
          </ac:spMkLst>
        </pc:spChg>
        <pc:spChg chg="add mod">
          <ac:chgData name="Bianca Valencia" userId="51c2520d-ee94-456a-97e1-3c81a4ab4711" providerId="ADAL" clId="{E88B7EA2-5A0E-48E5-A03D-65DF42213D14}" dt="2025-10-08T07:05:10.687" v="1175" actId="20577"/>
          <ac:spMkLst>
            <pc:docMk/>
            <pc:sldMk cId="4150906537" sldId="334"/>
            <ac:spMk id="14" creationId="{7A0A501A-15C4-34A8-0C64-BB53E37F49E9}"/>
          </ac:spMkLst>
        </pc:spChg>
        <pc:spChg chg="add mod">
          <ac:chgData name="Bianca Valencia" userId="51c2520d-ee94-456a-97e1-3c81a4ab4711" providerId="ADAL" clId="{E88B7EA2-5A0E-48E5-A03D-65DF42213D14}" dt="2025-10-08T06:57:55.987" v="1132" actId="1037"/>
          <ac:spMkLst>
            <pc:docMk/>
            <pc:sldMk cId="4150906537" sldId="334"/>
            <ac:spMk id="15" creationId="{B50E95B7-3819-6EF1-E308-53823DB6CEA4}"/>
          </ac:spMkLst>
        </pc:spChg>
        <pc:spChg chg="add mod">
          <ac:chgData name="Bianca Valencia" userId="51c2520d-ee94-456a-97e1-3c81a4ab4711" providerId="ADAL" clId="{E88B7EA2-5A0E-48E5-A03D-65DF42213D14}" dt="2025-10-08T06:57:55.987" v="1132" actId="1037"/>
          <ac:spMkLst>
            <pc:docMk/>
            <pc:sldMk cId="4150906537" sldId="334"/>
            <ac:spMk id="16" creationId="{58893CB5-D9BB-1865-84D0-91AAF80B4B9B}"/>
          </ac:spMkLst>
        </pc:spChg>
        <pc:spChg chg="add mod">
          <ac:chgData name="Bianca Valencia" userId="51c2520d-ee94-456a-97e1-3c81a4ab4711" providerId="ADAL" clId="{E88B7EA2-5A0E-48E5-A03D-65DF42213D14}" dt="2025-10-08T07:07:08.800" v="1215" actId="20577"/>
          <ac:spMkLst>
            <pc:docMk/>
            <pc:sldMk cId="4150906537" sldId="334"/>
            <ac:spMk id="17" creationId="{5FEFC94D-0592-35DD-0C07-51427F791182}"/>
          </ac:spMkLst>
        </pc:spChg>
        <pc:spChg chg="add mod">
          <ac:chgData name="Bianca Valencia" userId="51c2520d-ee94-456a-97e1-3c81a4ab4711" providerId="ADAL" clId="{E88B7EA2-5A0E-48E5-A03D-65DF42213D14}" dt="2025-10-08T07:07:22.179" v="1218" actId="1035"/>
          <ac:spMkLst>
            <pc:docMk/>
            <pc:sldMk cId="4150906537" sldId="334"/>
            <ac:spMk id="18" creationId="{D96C657F-E78C-F97A-F831-B1EC1B43F54B}"/>
          </ac:spMkLst>
        </pc:spChg>
        <pc:spChg chg="add mod">
          <ac:chgData name="Bianca Valencia" userId="51c2520d-ee94-456a-97e1-3c81a4ab4711" providerId="ADAL" clId="{E88B7EA2-5A0E-48E5-A03D-65DF42213D14}" dt="2025-10-08T06:54:52.140" v="1095" actId="1076"/>
          <ac:spMkLst>
            <pc:docMk/>
            <pc:sldMk cId="4150906537" sldId="334"/>
            <ac:spMk id="19" creationId="{B5EAC0DF-4BAC-46A1-D829-8AA1953EE3F8}"/>
          </ac:spMkLst>
        </pc:spChg>
        <pc:spChg chg="add mod">
          <ac:chgData name="Bianca Valencia" userId="51c2520d-ee94-456a-97e1-3c81a4ab4711" providerId="ADAL" clId="{E88B7EA2-5A0E-48E5-A03D-65DF42213D14}" dt="2025-10-08T11:05:22.207" v="1379" actId="20577"/>
          <ac:spMkLst>
            <pc:docMk/>
            <pc:sldMk cId="4150906537" sldId="334"/>
            <ac:spMk id="20" creationId="{E1488794-64A1-45DA-14DF-2D6886375C91}"/>
          </ac:spMkLst>
        </pc:spChg>
        <pc:spChg chg="add mod">
          <ac:chgData name="Bianca Valencia" userId="51c2520d-ee94-456a-97e1-3c81a4ab4711" providerId="ADAL" clId="{E88B7EA2-5A0E-48E5-A03D-65DF42213D14}" dt="2025-10-08T07:22:20.528" v="1341" actId="20577"/>
          <ac:spMkLst>
            <pc:docMk/>
            <pc:sldMk cId="4150906537" sldId="334"/>
            <ac:spMk id="21" creationId="{77861B02-3968-85C7-1317-ABEC21BE3CE9}"/>
          </ac:spMkLst>
        </pc:spChg>
        <pc:picChg chg="add mod">
          <ac:chgData name="Bianca Valencia" userId="51c2520d-ee94-456a-97e1-3c81a4ab4711" providerId="ADAL" clId="{E88B7EA2-5A0E-48E5-A03D-65DF42213D14}" dt="2025-10-08T06:57:51.555" v="1129" actId="1076"/>
          <ac:picMkLst>
            <pc:docMk/>
            <pc:sldMk cId="4150906537" sldId="334"/>
            <ac:picMk id="4" creationId="{267F864A-C3E2-0290-29B6-819D85B7365C}"/>
          </ac:picMkLst>
        </pc:picChg>
      </pc:sldChg>
      <pc:sldChg chg="modSp mod">
        <pc:chgData name="Bianca Valencia" userId="51c2520d-ee94-456a-97e1-3c81a4ab4711" providerId="ADAL" clId="{E88B7EA2-5A0E-48E5-A03D-65DF42213D14}" dt="2025-10-09T00:33:06.972" v="1764" actId="113"/>
        <pc:sldMkLst>
          <pc:docMk/>
          <pc:sldMk cId="295721127" sldId="336"/>
        </pc:sldMkLst>
        <pc:spChg chg="mod">
          <ac:chgData name="Bianca Valencia" userId="51c2520d-ee94-456a-97e1-3c81a4ab4711" providerId="ADAL" clId="{E88B7EA2-5A0E-48E5-A03D-65DF42213D14}" dt="2025-10-09T00:33:06.972" v="1764" actId="113"/>
          <ac:spMkLst>
            <pc:docMk/>
            <pc:sldMk cId="295721127" sldId="336"/>
            <ac:spMk id="6" creationId="{885371E8-7632-3C4A-ADA5-1A7187B6BE78}"/>
          </ac:spMkLst>
        </pc:spChg>
      </pc:sldChg>
    </pc:docChg>
  </pc:docChgLst>
  <pc:docChgLst>
    <pc:chgData name="Warren Heaps" userId="b5f776f4-d2aa-4752-837a-86796e4c6c94" providerId="ADAL" clId="{775E38DF-7547-4EB7-819D-F21CF3EEFCB6}"/>
    <pc:docChg chg="undo custSel addSld delSld modSld sldOrd modMainMaster modNotesMaster">
      <pc:chgData name="Warren Heaps" userId="b5f776f4-d2aa-4752-837a-86796e4c6c94" providerId="ADAL" clId="{775E38DF-7547-4EB7-819D-F21CF3EEFCB6}" dt="2025-10-08T16:11:36.120" v="106032"/>
      <pc:docMkLst>
        <pc:docMk/>
      </pc:docMkLst>
      <pc:sldChg chg="addSp modSp del mod modClrScheme chgLayout">
        <pc:chgData name="Warren Heaps" userId="b5f776f4-d2aa-4752-837a-86796e4c6c94" providerId="ADAL" clId="{775E38DF-7547-4EB7-819D-F21CF3EEFCB6}" dt="2025-10-07T03:51:49.141" v="64073" actId="47"/>
        <pc:sldMkLst>
          <pc:docMk/>
          <pc:sldMk cId="3741218824" sldId="256"/>
        </pc:sldMkLst>
      </pc:sldChg>
      <pc:sldChg chg="addSp delSp modSp mod modClrScheme chgLayout">
        <pc:chgData name="Warren Heaps" userId="b5f776f4-d2aa-4752-837a-86796e4c6c94" providerId="ADAL" clId="{775E38DF-7547-4EB7-819D-F21CF3EEFCB6}" dt="2025-10-07T19:59:30.456" v="74557"/>
        <pc:sldMkLst>
          <pc:docMk/>
          <pc:sldMk cId="1224098049" sldId="258"/>
        </pc:sldMkLst>
        <pc:spChg chg="add mod ord">
          <ac:chgData name="Warren Heaps" userId="b5f776f4-d2aa-4752-837a-86796e4c6c94" providerId="ADAL" clId="{775E38DF-7547-4EB7-819D-F21CF3EEFCB6}" dt="2025-10-07T19:58:52.276" v="74348"/>
          <ac:spMkLst>
            <pc:docMk/>
            <pc:sldMk cId="1224098049" sldId="258"/>
            <ac:spMk id="2" creationId="{A9E69927-7547-0892-7AFF-F32B9F126181}"/>
          </ac:spMkLst>
        </pc:spChg>
        <pc:spChg chg="mod ord">
          <ac:chgData name="Warren Heaps" userId="b5f776f4-d2aa-4752-837a-86796e4c6c94" providerId="ADAL" clId="{775E38DF-7547-4EB7-819D-F21CF3EEFCB6}" dt="2025-10-07T19:58:52.273" v="74346"/>
          <ac:spMkLst>
            <pc:docMk/>
            <pc:sldMk cId="1224098049" sldId="258"/>
            <ac:spMk id="4" creationId="{00000000-0000-0000-0000-000000000000}"/>
          </ac:spMkLst>
        </pc:spChg>
        <pc:spChg chg="add mod">
          <ac:chgData name="Warren Heaps" userId="b5f776f4-d2aa-4752-837a-86796e4c6c94" providerId="ADAL" clId="{775E38DF-7547-4EB7-819D-F21CF3EEFCB6}" dt="2025-10-07T19:58:52.282" v="74353"/>
          <ac:spMkLst>
            <pc:docMk/>
            <pc:sldMk cId="1224098049" sldId="258"/>
            <ac:spMk id="25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7T19:58:52.284" v="74354"/>
          <ac:spMkLst>
            <pc:docMk/>
            <pc:sldMk cId="1224098049" sldId="258"/>
            <ac:spMk id="37" creationId="{AA1E4D27-0A94-0A62-90CC-52101FEB4126}"/>
          </ac:spMkLst>
        </pc:spChg>
        <pc:spChg chg="add mod">
          <ac:chgData name="Warren Heaps" userId="b5f776f4-d2aa-4752-837a-86796e4c6c94" providerId="ADAL" clId="{775E38DF-7547-4EB7-819D-F21CF3EEFCB6}" dt="2025-10-07T19:58:52.286" v="74355"/>
          <ac:spMkLst>
            <pc:docMk/>
            <pc:sldMk cId="1224098049" sldId="258"/>
            <ac:spMk id="53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7T19:59:30.449" v="74553"/>
          <ac:spMkLst>
            <pc:docMk/>
            <pc:sldMk cId="1224098049" sldId="258"/>
            <ac:spMk id="65" creationId="{885371E8-7632-3C4A-ADA5-1A7187B6BE78}"/>
          </ac:spMkLst>
        </pc:spChg>
        <pc:graphicFrameChg chg="add mod ord modVis">
          <ac:chgData name="Warren Heaps" userId="b5f776f4-d2aa-4752-837a-86796e4c6c94" providerId="ADAL" clId="{775E38DF-7547-4EB7-819D-F21CF3EEFCB6}" dt="2025-10-07T19:59:30.456" v="74557"/>
          <ac:graphicFrameMkLst>
            <pc:docMk/>
            <pc:sldMk cId="1224098049" sldId="258"/>
            <ac:graphicFrameMk id="6" creationId="{0325F5B4-233B-9AD4-BB1D-627B836851BA}"/>
          </ac:graphicFrameMkLst>
        </pc:graphicFrameChg>
        <pc:picChg chg="add mod ord">
          <ac:chgData name="Warren Heaps" userId="b5f776f4-d2aa-4752-837a-86796e4c6c94" providerId="ADAL" clId="{775E38DF-7547-4EB7-819D-F21CF3EEFCB6}" dt="2025-10-07T19:58:52.278" v="74350"/>
          <ac:picMkLst>
            <pc:docMk/>
            <pc:sldMk cId="1224098049" sldId="258"/>
            <ac:picMk id="7" creationId="{0C0B901A-2CAD-839F-A459-B58DE0100FB7}"/>
          </ac:picMkLst>
        </pc:picChg>
        <pc:picChg chg="add mod ord">
          <ac:chgData name="Warren Heaps" userId="b5f776f4-d2aa-4752-837a-86796e4c6c94" providerId="ADAL" clId="{775E38DF-7547-4EB7-819D-F21CF3EEFCB6}" dt="2025-10-07T19:58:52.281" v="74352"/>
          <ac:picMkLst>
            <pc:docMk/>
            <pc:sldMk cId="1224098049" sldId="258"/>
            <ac:picMk id="24" creationId="{32D06742-103F-3520-D0CA-847B8EDB766B}"/>
          </ac:picMkLst>
        </pc:picChg>
      </pc:sldChg>
      <pc:sldChg chg="addSp delSp modSp del mod modClrScheme chgLayout">
        <pc:chgData name="Warren Heaps" userId="b5f776f4-d2aa-4752-837a-86796e4c6c94" providerId="ADAL" clId="{775E38DF-7547-4EB7-819D-F21CF3EEFCB6}" dt="2025-10-08T01:51:50.023" v="81589" actId="47"/>
        <pc:sldMkLst>
          <pc:docMk/>
          <pc:sldMk cId="1470558284" sldId="260"/>
        </pc:sldMkLst>
      </pc:sldChg>
      <pc:sldChg chg="addSp modSp del mod modClrScheme chgLayout">
        <pc:chgData name="Warren Heaps" userId="b5f776f4-d2aa-4752-837a-86796e4c6c94" providerId="ADAL" clId="{775E38DF-7547-4EB7-819D-F21CF3EEFCB6}" dt="2025-10-07T03:55:14.490" v="65117" actId="47"/>
        <pc:sldMkLst>
          <pc:docMk/>
          <pc:sldMk cId="3397701494" sldId="261"/>
        </pc:sldMkLst>
      </pc:sldChg>
      <pc:sldChg chg="addSp delSp modSp mod modClrScheme chgLayout">
        <pc:chgData name="Warren Heaps" userId="b5f776f4-d2aa-4752-837a-86796e4c6c94" providerId="ADAL" clId="{775E38DF-7547-4EB7-819D-F21CF3EEFCB6}" dt="2025-10-07T03:51:25.086" v="64023" actId="1076"/>
        <pc:sldMkLst>
          <pc:docMk/>
          <pc:sldMk cId="2945695974" sldId="264"/>
        </pc:sldMkLst>
        <pc:spChg chg="add mod ord">
          <ac:chgData name="Warren Heaps" userId="b5f776f4-d2aa-4752-837a-86796e4c6c94" providerId="ADAL" clId="{775E38DF-7547-4EB7-819D-F21CF3EEFCB6}" dt="2025-10-07T03:51:23.320" v="63998" actId="948"/>
          <ac:spMkLst>
            <pc:docMk/>
            <pc:sldMk cId="2945695974" sldId="264"/>
            <ac:spMk id="4" creationId="{926F7D79-8486-A5C0-39BB-E0D869FDEC49}"/>
          </ac:spMkLst>
        </pc:spChg>
        <pc:spChg chg="add mod">
          <ac:chgData name="Warren Heaps" userId="b5f776f4-d2aa-4752-837a-86796e4c6c94" providerId="ADAL" clId="{775E38DF-7547-4EB7-819D-F21CF3EEFCB6}" dt="2025-10-07T03:51:06.207" v="63991"/>
          <ac:spMkLst>
            <pc:docMk/>
            <pc:sldMk cId="2945695974" sldId="264"/>
            <ac:spMk id="13" creationId="{885371E8-7632-3C4A-ADA5-1A7187B6BE78}"/>
          </ac:spMkLst>
        </pc:spChg>
        <pc:graphicFrameChg chg="add mod ord modVis">
          <ac:chgData name="Warren Heaps" userId="b5f776f4-d2aa-4752-837a-86796e4c6c94" providerId="ADAL" clId="{775E38DF-7547-4EB7-819D-F21CF3EEFCB6}" dt="2025-10-07T03:51:23.389" v="64022"/>
          <ac:graphicFrameMkLst>
            <pc:docMk/>
            <pc:sldMk cId="2945695974" sldId="264"/>
            <ac:graphicFrameMk id="6" creationId="{681A37F3-804F-4644-5270-8406D6B78F9A}"/>
          </ac:graphicFrameMkLst>
        </pc:graphicFrameChg>
        <pc:picChg chg="add mod ord">
          <ac:chgData name="Warren Heaps" userId="b5f776f4-d2aa-4752-837a-86796e4c6c94" providerId="ADAL" clId="{775E38DF-7547-4EB7-819D-F21CF3EEFCB6}" dt="2025-10-07T03:51:25.086" v="64023" actId="1076"/>
          <ac:picMkLst>
            <pc:docMk/>
            <pc:sldMk cId="2945695974" sldId="264"/>
            <ac:picMk id="12" creationId="{D34D1721-E767-3D83-2721-60298F0909E2}"/>
          </ac:picMkLst>
        </pc:picChg>
      </pc:sldChg>
      <pc:sldChg chg="addSp delSp modSp del mod modClrScheme chgLayout">
        <pc:chgData name="Warren Heaps" userId="b5f776f4-d2aa-4752-837a-86796e4c6c94" providerId="ADAL" clId="{775E38DF-7547-4EB7-819D-F21CF3EEFCB6}" dt="2025-10-07T03:55:51.339" v="65262" actId="47"/>
        <pc:sldMkLst>
          <pc:docMk/>
          <pc:sldMk cId="114049785" sldId="266"/>
        </pc:sldMkLst>
      </pc:sldChg>
      <pc:sldChg chg="addSp delSp modSp del mod modClrScheme chgLayout">
        <pc:chgData name="Warren Heaps" userId="b5f776f4-d2aa-4752-837a-86796e4c6c94" providerId="ADAL" clId="{775E38DF-7547-4EB7-819D-F21CF3EEFCB6}" dt="2025-10-07T03:55:51.339" v="65262" actId="47"/>
        <pc:sldMkLst>
          <pc:docMk/>
          <pc:sldMk cId="2806569" sldId="267"/>
        </pc:sldMkLst>
      </pc:sldChg>
      <pc:sldChg chg="addSp delSp modSp del mod modClrScheme chgLayout">
        <pc:chgData name="Warren Heaps" userId="b5f776f4-d2aa-4752-837a-86796e4c6c94" providerId="ADAL" clId="{775E38DF-7547-4EB7-819D-F21CF3EEFCB6}" dt="2025-10-07T03:55:51.339" v="65262" actId="47"/>
        <pc:sldMkLst>
          <pc:docMk/>
          <pc:sldMk cId="2665617742" sldId="269"/>
        </pc:sldMkLst>
      </pc:sldChg>
      <pc:sldChg chg="addSp delSp modSp mod modClrScheme chgLayout">
        <pc:chgData name="Warren Heaps" userId="b5f776f4-d2aa-4752-837a-86796e4c6c94" providerId="ADAL" clId="{775E38DF-7547-4EB7-819D-F21CF3EEFCB6}" dt="2025-10-08T01:52:44.032" v="81742"/>
        <pc:sldMkLst>
          <pc:docMk/>
          <pc:sldMk cId="488385575" sldId="270"/>
        </pc:sldMkLst>
        <pc:spChg chg="add del mod modVis">
          <ac:chgData name="Warren Heaps" userId="b5f776f4-d2aa-4752-837a-86796e4c6c94" providerId="ADAL" clId="{775E38DF-7547-4EB7-819D-F21CF3EEFCB6}" dt="2025-10-08T01:52:44.028" v="81740"/>
          <ac:spMkLst>
            <pc:docMk/>
            <pc:sldMk cId="488385575" sldId="270"/>
            <ac:spMk id="2" creationId="{4BB1B6B7-5FF5-2583-86E8-6F543F9E89F8}"/>
          </ac:spMkLst>
        </pc:spChg>
        <pc:spChg chg="mod ord">
          <ac:chgData name="Warren Heaps" userId="b5f776f4-d2aa-4752-837a-86796e4c6c94" providerId="ADAL" clId="{775E38DF-7547-4EB7-819D-F21CF3EEFCB6}" dt="2025-10-08T01:52:43.954" v="81718" actId="948"/>
          <ac:spMkLst>
            <pc:docMk/>
            <pc:sldMk cId="488385575" sldId="270"/>
            <ac:spMk id="5" creationId="{00000000-0000-0000-0000-000000000000}"/>
          </ac:spMkLst>
        </pc:spChg>
        <pc:graphicFrameChg chg="add mod ord modVis">
          <ac:chgData name="Warren Heaps" userId="b5f776f4-d2aa-4752-837a-86796e4c6c94" providerId="ADAL" clId="{775E38DF-7547-4EB7-819D-F21CF3EEFCB6}" dt="2025-10-08T01:52:44.032" v="81742"/>
          <ac:graphicFrameMkLst>
            <pc:docMk/>
            <pc:sldMk cId="488385575" sldId="270"/>
            <ac:graphicFrameMk id="3" creationId="{1487E3B6-FC94-B4CB-A0F9-63CEEE6E05C2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15:27:17.704" v="105027"/>
        <pc:sldMkLst>
          <pc:docMk/>
          <pc:sldMk cId="732491168" sldId="272"/>
        </pc:sldMkLst>
        <pc:spChg chg="mod ord">
          <ac:chgData name="Warren Heaps" userId="b5f776f4-d2aa-4752-837a-86796e4c6c94" providerId="ADAL" clId="{775E38DF-7547-4EB7-819D-F21CF3EEFCB6}" dt="2025-10-08T15:27:17.453" v="104989" actId="948"/>
          <ac:spMkLst>
            <pc:docMk/>
            <pc:sldMk cId="732491168" sldId="272"/>
            <ac:spMk id="2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5:27:17.697" v="105025"/>
          <ac:spMkLst>
            <pc:docMk/>
            <pc:sldMk cId="732491168" sldId="272"/>
            <ac:spMk id="3" creationId="{8F98A04F-44CA-163F-B606-9B6738D0CD33}"/>
          </ac:spMkLst>
        </pc:spChg>
        <pc:spChg chg="add mod">
          <ac:chgData name="Warren Heaps" userId="b5f776f4-d2aa-4752-837a-86796e4c6c94" providerId="ADAL" clId="{775E38DF-7547-4EB7-819D-F21CF3EEFCB6}" dt="2025-10-08T15:27:17.544" v="105009"/>
          <ac:spMkLst>
            <pc:docMk/>
            <pc:sldMk cId="732491168" sldId="272"/>
            <ac:spMk id="28" creationId="{885371E8-7632-3C4A-ADA5-1A7187B6BE78}"/>
          </ac:spMkLst>
        </pc:spChg>
        <pc:spChg chg="add del mod">
          <ac:chgData name="Warren Heaps" userId="b5f776f4-d2aa-4752-837a-86796e4c6c94" providerId="ADAL" clId="{775E38DF-7547-4EB7-819D-F21CF3EEFCB6}" dt="2025-10-08T15:27:17.435" v="104988"/>
          <ac:spMkLst>
            <pc:docMk/>
            <pc:sldMk cId="732491168" sldId="272"/>
            <ac:spMk id="53" creationId="{16AEF61B-ABF3-3F78-8264-BD69F6F2D11F}"/>
          </ac:spMkLst>
        </pc:spChg>
        <pc:graphicFrameChg chg="add mod ord modVis">
          <ac:chgData name="Warren Heaps" userId="b5f776f4-d2aa-4752-837a-86796e4c6c94" providerId="ADAL" clId="{775E38DF-7547-4EB7-819D-F21CF3EEFCB6}" dt="2025-10-08T15:27:17.704" v="105027"/>
          <ac:graphicFrameMkLst>
            <pc:docMk/>
            <pc:sldMk cId="732491168" sldId="272"/>
            <ac:graphicFrameMk id="4" creationId="{39AD2162-5329-3CE3-B491-3BFD7ECD4D9F}"/>
          </ac:graphicFrameMkLst>
        </pc:graphicFrameChg>
      </pc:sldChg>
      <pc:sldChg chg="addSp delSp modSp del mod modClrScheme chgLayout">
        <pc:chgData name="Warren Heaps" userId="b5f776f4-d2aa-4752-837a-86796e4c6c94" providerId="ADAL" clId="{775E38DF-7547-4EB7-819D-F21CF3EEFCB6}" dt="2025-10-07T04:03:42.898" v="67487" actId="47"/>
        <pc:sldMkLst>
          <pc:docMk/>
          <pc:sldMk cId="1115696277" sldId="273"/>
        </pc:sldMkLst>
      </pc:sldChg>
      <pc:sldChg chg="addSp delSp modSp mod modClrScheme chgLayout">
        <pc:chgData name="Warren Heaps" userId="b5f776f4-d2aa-4752-837a-86796e4c6c94" providerId="ADAL" clId="{775E38DF-7547-4EB7-819D-F21CF3EEFCB6}" dt="2025-10-07T04:04:00.312" v="67513" actId="14100"/>
        <pc:sldMkLst>
          <pc:docMk/>
          <pc:sldMk cId="2637583493" sldId="274"/>
        </pc:sldMkLst>
        <pc:spChg chg="mod ord">
          <ac:chgData name="Warren Heaps" userId="b5f776f4-d2aa-4752-837a-86796e4c6c94" providerId="ADAL" clId="{775E38DF-7547-4EB7-819D-F21CF3EEFCB6}" dt="2025-10-07T04:03:43.435" v="67488" actId="948"/>
          <ac:spMkLst>
            <pc:docMk/>
            <pc:sldMk cId="2637583493" sldId="274"/>
            <ac:spMk id="3" creationId="{00000000-0000-0000-0000-000000000000}"/>
          </ac:spMkLst>
        </pc:spChg>
        <pc:graphicFrameChg chg="add mod ord modVis">
          <ac:chgData name="Warren Heaps" userId="b5f776f4-d2aa-4752-837a-86796e4c6c94" providerId="ADAL" clId="{775E38DF-7547-4EB7-819D-F21CF3EEFCB6}" dt="2025-10-07T04:03:43.503" v="67511"/>
          <ac:graphicFrameMkLst>
            <pc:docMk/>
            <pc:sldMk cId="2637583493" sldId="274"/>
            <ac:graphicFrameMk id="4" creationId="{75319512-6404-BE76-135B-76FDD4B8C69A}"/>
          </ac:graphicFrameMkLst>
        </pc:graphicFrameChg>
        <pc:graphicFrameChg chg="mod">
          <ac:chgData name="Warren Heaps" userId="b5f776f4-d2aa-4752-837a-86796e4c6c94" providerId="ADAL" clId="{775E38DF-7547-4EB7-819D-F21CF3EEFCB6}" dt="2025-10-07T04:04:00.312" v="67513" actId="14100"/>
          <ac:graphicFrameMkLst>
            <pc:docMk/>
            <pc:sldMk cId="2637583493" sldId="274"/>
            <ac:graphicFrameMk id="5" creationId="{00000000-0000-0000-0000-000000000000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12:59:08.554" v="85116"/>
        <pc:sldMkLst>
          <pc:docMk/>
          <pc:sldMk cId="3913966277" sldId="275"/>
        </pc:sldMkLst>
        <pc:spChg chg="mod ord">
          <ac:chgData name="Warren Heaps" userId="b5f776f4-d2aa-4752-837a-86796e4c6c94" providerId="ADAL" clId="{775E38DF-7547-4EB7-819D-F21CF3EEFCB6}" dt="2025-10-08T12:59:08.490" v="85093" actId="948"/>
          <ac:spMkLst>
            <pc:docMk/>
            <pc:sldMk cId="3913966277" sldId="275"/>
            <ac:spMk id="2" creationId="{00000000-0000-0000-0000-000000000000}"/>
          </ac:spMkLst>
        </pc:spChg>
        <pc:spChg chg="del mod ord">
          <ac:chgData name="Warren Heaps" userId="b5f776f4-d2aa-4752-837a-86796e4c6c94" providerId="ADAL" clId="{775E38DF-7547-4EB7-819D-F21CF3EEFCB6}" dt="2025-10-08T12:58:20.306" v="84872" actId="478"/>
          <ac:spMkLst>
            <pc:docMk/>
            <pc:sldMk cId="3913966277" sldId="275"/>
            <ac:spMk id="3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2:58:00.581" v="84867"/>
          <ac:spMkLst>
            <pc:docMk/>
            <pc:sldMk cId="3913966277" sldId="275"/>
            <ac:spMk id="4" creationId="{9901E801-FACC-A59B-CDEA-6CDB2CA0061A}"/>
          </ac:spMkLst>
        </pc:spChg>
        <pc:spChg chg="add mod">
          <ac:chgData name="Warren Heaps" userId="b5f776f4-d2aa-4752-837a-86796e4c6c94" providerId="ADAL" clId="{775E38DF-7547-4EB7-819D-F21CF3EEFCB6}" dt="2025-10-08T12:59:03.051" v="85081"/>
          <ac:spMkLst>
            <pc:docMk/>
            <pc:sldMk cId="3913966277" sldId="275"/>
            <ac:spMk id="6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2:58:27.767" v="84954"/>
          <ac:spMkLst>
            <pc:docMk/>
            <pc:sldMk cId="3913966277" sldId="275"/>
            <ac:spMk id="7" creationId="{E4D2D383-4AA7-9E3C-F477-259B30C31B30}"/>
          </ac:spMkLst>
        </pc:spChg>
        <pc:spChg chg="add del mod modVis">
          <ac:chgData name="Warren Heaps" userId="b5f776f4-d2aa-4752-837a-86796e4c6c94" providerId="ADAL" clId="{775E38DF-7547-4EB7-819D-F21CF3EEFCB6}" dt="2025-10-08T12:58:31.344" v="84982"/>
          <ac:spMkLst>
            <pc:docMk/>
            <pc:sldMk cId="3913966277" sldId="275"/>
            <ac:spMk id="8" creationId="{E4BDE558-3846-2031-E5B1-5BE1593F8862}"/>
          </ac:spMkLst>
        </pc:spChg>
        <pc:spChg chg="add del mod modVis">
          <ac:chgData name="Warren Heaps" userId="b5f776f4-d2aa-4752-837a-86796e4c6c94" providerId="ADAL" clId="{775E38DF-7547-4EB7-819D-F21CF3EEFCB6}" dt="2025-10-08T12:58:39.452" v="85015"/>
          <ac:spMkLst>
            <pc:docMk/>
            <pc:sldMk cId="3913966277" sldId="275"/>
            <ac:spMk id="9" creationId="{DC7D7E34-D773-E650-572B-345F0070A5BF}"/>
          </ac:spMkLst>
        </pc:spChg>
        <pc:spChg chg="add del mod modVis">
          <ac:chgData name="Warren Heaps" userId="b5f776f4-d2aa-4752-837a-86796e4c6c94" providerId="ADAL" clId="{775E38DF-7547-4EB7-819D-F21CF3EEFCB6}" dt="2025-10-08T12:58:57.278" v="85057" actId="20578"/>
          <ac:spMkLst>
            <pc:docMk/>
            <pc:sldMk cId="3913966277" sldId="275"/>
            <ac:spMk id="10" creationId="{8A552325-A3A2-38AB-CBD1-3C380DBB6183}"/>
          </ac:spMkLst>
        </pc:spChg>
        <pc:spChg chg="add del mod modVis">
          <ac:chgData name="Warren Heaps" userId="b5f776f4-d2aa-4752-837a-86796e4c6c94" providerId="ADAL" clId="{775E38DF-7547-4EB7-819D-F21CF3EEFCB6}" dt="2025-10-08T12:59:03.138" v="85089"/>
          <ac:spMkLst>
            <pc:docMk/>
            <pc:sldMk cId="3913966277" sldId="275"/>
            <ac:spMk id="11" creationId="{0AF6DA32-435E-2580-85A4-17F7A0F47D71}"/>
          </ac:spMkLst>
        </pc:spChg>
        <pc:spChg chg="add del mod modVis">
          <ac:chgData name="Warren Heaps" userId="b5f776f4-d2aa-4752-837a-86796e4c6c94" providerId="ADAL" clId="{775E38DF-7547-4EB7-819D-F21CF3EEFCB6}" dt="2025-10-08T12:59:08.551" v="85114"/>
          <ac:spMkLst>
            <pc:docMk/>
            <pc:sldMk cId="3913966277" sldId="275"/>
            <ac:spMk id="12" creationId="{395EEA99-E316-33FC-63AC-A1499F8FEEB5}"/>
          </ac:spMkLst>
        </pc:spChg>
        <pc:graphicFrameChg chg="add mod ord modVis">
          <ac:chgData name="Warren Heaps" userId="b5f776f4-d2aa-4752-837a-86796e4c6c94" providerId="ADAL" clId="{775E38DF-7547-4EB7-819D-F21CF3EEFCB6}" dt="2025-10-08T12:59:08.554" v="85116"/>
          <ac:graphicFrameMkLst>
            <pc:docMk/>
            <pc:sldMk cId="3913966277" sldId="275"/>
            <ac:graphicFrameMk id="5" creationId="{27F2CE48-A3B0-E41A-86BE-9C71D2C24603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13:00:20.812" v="85292"/>
        <pc:sldMkLst>
          <pc:docMk/>
          <pc:sldMk cId="3073583716" sldId="276"/>
        </pc:sldMkLst>
        <pc:spChg chg="del mod ord">
          <ac:chgData name="Warren Heaps" userId="b5f776f4-d2aa-4752-837a-86796e4c6c94" providerId="ADAL" clId="{775E38DF-7547-4EB7-819D-F21CF3EEFCB6}" dt="2025-10-08T13:00:13.491" v="85286" actId="478"/>
          <ac:spMkLst>
            <pc:docMk/>
            <pc:sldMk cId="3073583716" sldId="276"/>
            <ac:spMk id="2" creationId="{00000000-0000-0000-0000-000000000000}"/>
          </ac:spMkLst>
        </pc:spChg>
        <pc:spChg chg="mod ord">
          <ac:chgData name="Warren Heaps" userId="b5f776f4-d2aa-4752-837a-86796e4c6c94" providerId="ADAL" clId="{775E38DF-7547-4EB7-819D-F21CF3EEFCB6}" dt="2025-10-08T12:59:58.404" v="85220"/>
          <ac:spMkLst>
            <pc:docMk/>
            <pc:sldMk cId="3073583716" sldId="276"/>
            <ac:spMk id="3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2:59:12.652" v="85138"/>
          <ac:spMkLst>
            <pc:docMk/>
            <pc:sldMk cId="3073583716" sldId="276"/>
            <ac:spMk id="4" creationId="{23CE6B03-0F76-AEF3-B45F-7675A1D52F1A}"/>
          </ac:spMkLst>
        </pc:spChg>
        <pc:spChg chg="add mod">
          <ac:chgData name="Warren Heaps" userId="b5f776f4-d2aa-4752-837a-86796e4c6c94" providerId="ADAL" clId="{775E38DF-7547-4EB7-819D-F21CF3EEFCB6}" dt="2025-10-08T13:00:20.809" v="85290"/>
          <ac:spMkLst>
            <pc:docMk/>
            <pc:sldMk cId="3073583716" sldId="276"/>
            <ac:spMk id="6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2:59:58.410" v="85225"/>
          <ac:spMkLst>
            <pc:docMk/>
            <pc:sldMk cId="3073583716" sldId="276"/>
            <ac:spMk id="7" creationId="{3E0F3965-ECE5-DFF9-BE17-F9080F43D299}"/>
          </ac:spMkLst>
        </pc:spChg>
        <pc:spChg chg="add del mod modVis">
          <ac:chgData name="Warren Heaps" userId="b5f776f4-d2aa-4752-837a-86796e4c6c94" providerId="ADAL" clId="{775E38DF-7547-4EB7-819D-F21CF3EEFCB6}" dt="2025-10-08T13:00:09.985" v="85283"/>
          <ac:spMkLst>
            <pc:docMk/>
            <pc:sldMk cId="3073583716" sldId="276"/>
            <ac:spMk id="8" creationId="{6C0D1E5D-A76C-63D9-F983-0C8ACA91C9F5}"/>
          </ac:spMkLst>
        </pc:spChg>
        <pc:graphicFrameChg chg="add mod ord modVis">
          <ac:chgData name="Warren Heaps" userId="b5f776f4-d2aa-4752-837a-86796e4c6c94" providerId="ADAL" clId="{775E38DF-7547-4EB7-819D-F21CF3EEFCB6}" dt="2025-10-08T13:00:20.812" v="85292"/>
          <ac:graphicFrameMkLst>
            <pc:docMk/>
            <pc:sldMk cId="3073583716" sldId="276"/>
            <ac:graphicFrameMk id="5" creationId="{9F3C74FF-9CBD-906F-C70F-83733871B746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01:57:40.762" v="83728"/>
        <pc:sldMkLst>
          <pc:docMk/>
          <pc:sldMk cId="2858838581" sldId="278"/>
        </pc:sldMkLst>
        <pc:spChg chg="add del mod modVis">
          <ac:chgData name="Warren Heaps" userId="b5f776f4-d2aa-4752-837a-86796e4c6c94" providerId="ADAL" clId="{775E38DF-7547-4EB7-819D-F21CF3EEFCB6}" dt="2025-10-08T01:53:20.999" v="81765"/>
          <ac:spMkLst>
            <pc:docMk/>
            <pc:sldMk cId="2858838581" sldId="278"/>
            <ac:spMk id="2" creationId="{4DBD2EA2-DC4A-E308-2212-D24D5D5E8E6D}"/>
          </ac:spMkLst>
        </pc:spChg>
        <pc:spChg chg="add mod">
          <ac:chgData name="Warren Heaps" userId="b5f776f4-d2aa-4752-837a-86796e4c6c94" providerId="ADAL" clId="{775E38DF-7547-4EB7-819D-F21CF3EEFCB6}" dt="2025-10-08T01:57:40.755" v="83724"/>
          <ac:spMkLst>
            <pc:docMk/>
            <pc:sldMk cId="2858838581" sldId="278"/>
            <ac:spMk id="4" creationId="{885371E8-7632-3C4A-ADA5-1A7187B6BE78}"/>
          </ac:spMkLst>
        </pc:spChg>
        <pc:spChg chg="mod ord">
          <ac:chgData name="Warren Heaps" userId="b5f776f4-d2aa-4752-837a-86796e4c6c94" providerId="ADAL" clId="{775E38DF-7547-4EB7-819D-F21CF3EEFCB6}" dt="2025-10-08T01:54:22.850" v="82144" actId="948"/>
          <ac:spMkLst>
            <pc:docMk/>
            <pc:sldMk cId="2858838581" sldId="278"/>
            <ac:spMk id="5" creationId="{00000000-0000-0000-0000-000000000000}"/>
          </ac:spMkLst>
        </pc:spChg>
        <pc:spChg chg="del mod ord">
          <ac:chgData name="Warren Heaps" userId="b5f776f4-d2aa-4752-837a-86796e4c6c94" providerId="ADAL" clId="{775E38DF-7547-4EB7-819D-F21CF3EEFCB6}" dt="2025-10-08T01:53:31.678" v="81769" actId="478"/>
          <ac:spMkLst>
            <pc:docMk/>
            <pc:sldMk cId="2858838581" sldId="278"/>
            <ac:spMk id="6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01:53:38.458" v="81851"/>
          <ac:spMkLst>
            <pc:docMk/>
            <pc:sldMk cId="2858838581" sldId="278"/>
            <ac:spMk id="7" creationId="{ED6E44E2-4B0E-D2A3-5C17-BF787E04FE5E}"/>
          </ac:spMkLst>
        </pc:spChg>
        <pc:spChg chg="add del mod modVis">
          <ac:chgData name="Warren Heaps" userId="b5f776f4-d2aa-4752-837a-86796e4c6c94" providerId="ADAL" clId="{775E38DF-7547-4EB7-819D-F21CF3EEFCB6}" dt="2025-10-08T01:53:47.083" v="81878"/>
          <ac:spMkLst>
            <pc:docMk/>
            <pc:sldMk cId="2858838581" sldId="278"/>
            <ac:spMk id="8" creationId="{9EC7FA58-D294-A172-2CB8-4B857E04B155}"/>
          </ac:spMkLst>
        </pc:spChg>
        <pc:spChg chg="add del mod modVis">
          <ac:chgData name="Warren Heaps" userId="b5f776f4-d2aa-4752-837a-86796e4c6c94" providerId="ADAL" clId="{775E38DF-7547-4EB7-819D-F21CF3EEFCB6}" dt="2025-10-08T01:53:57.467" v="81917"/>
          <ac:spMkLst>
            <pc:docMk/>
            <pc:sldMk cId="2858838581" sldId="278"/>
            <ac:spMk id="9" creationId="{890CCEDF-3CCF-BCDA-3602-878CAFE356C8}"/>
          </ac:spMkLst>
        </pc:spChg>
        <pc:spChg chg="add del mod modVis">
          <ac:chgData name="Warren Heaps" userId="b5f776f4-d2aa-4752-837a-86796e4c6c94" providerId="ADAL" clId="{775E38DF-7547-4EB7-819D-F21CF3EEFCB6}" dt="2025-10-08T01:54:14.916" v="82097" actId="962"/>
          <ac:spMkLst>
            <pc:docMk/>
            <pc:sldMk cId="2858838581" sldId="278"/>
            <ac:spMk id="10" creationId="{99EB6A54-5B46-9A0B-CF9E-DF896D786170}"/>
          </ac:spMkLst>
        </pc:spChg>
        <pc:spChg chg="add del mod modVis">
          <ac:chgData name="Warren Heaps" userId="b5f776f4-d2aa-4752-837a-86796e4c6c94" providerId="ADAL" clId="{775E38DF-7547-4EB7-819D-F21CF3EEFCB6}" dt="2025-10-08T01:54:10.800" v="82077"/>
          <ac:spMkLst>
            <pc:docMk/>
            <pc:sldMk cId="2858838581" sldId="278"/>
            <ac:spMk id="11" creationId="{C4FF819C-6AE5-54F8-6E70-A20DF8DAAF43}"/>
          </ac:spMkLst>
        </pc:spChg>
        <pc:spChg chg="add del mod modVis">
          <ac:chgData name="Warren Heaps" userId="b5f776f4-d2aa-4752-837a-86796e4c6c94" providerId="ADAL" clId="{775E38DF-7547-4EB7-819D-F21CF3EEFCB6}" dt="2025-10-08T01:54:22.884" v="82152"/>
          <ac:spMkLst>
            <pc:docMk/>
            <pc:sldMk cId="2858838581" sldId="278"/>
            <ac:spMk id="12" creationId="{DD593E65-0714-DB57-89F2-416AA7409873}"/>
          </ac:spMkLst>
        </pc:spChg>
        <pc:spChg chg="add del mod modVis">
          <ac:chgData name="Warren Heaps" userId="b5f776f4-d2aa-4752-837a-86796e4c6c94" providerId="ADAL" clId="{775E38DF-7547-4EB7-819D-F21CF3EEFCB6}" dt="2025-10-08T01:54:28.758" v="82199"/>
          <ac:spMkLst>
            <pc:docMk/>
            <pc:sldMk cId="2858838581" sldId="278"/>
            <ac:spMk id="13" creationId="{72B742E0-FE4B-21E0-C3F7-7677735DA9D7}"/>
          </ac:spMkLst>
        </pc:spChg>
        <pc:spChg chg="add del mod modVis">
          <ac:chgData name="Warren Heaps" userId="b5f776f4-d2aa-4752-837a-86796e4c6c94" providerId="ADAL" clId="{775E38DF-7547-4EB7-819D-F21CF3EEFCB6}" dt="2025-10-08T01:54:33.658" v="82246"/>
          <ac:spMkLst>
            <pc:docMk/>
            <pc:sldMk cId="2858838581" sldId="278"/>
            <ac:spMk id="14" creationId="{ED82C0ED-9ECA-174E-9DA6-5A8963B128A0}"/>
          </ac:spMkLst>
        </pc:spChg>
        <pc:spChg chg="add del mod modVis">
          <ac:chgData name="Warren Heaps" userId="b5f776f4-d2aa-4752-837a-86796e4c6c94" providerId="ADAL" clId="{775E38DF-7547-4EB7-819D-F21CF3EEFCB6}" dt="2025-10-08T01:54:38.449" v="82293"/>
          <ac:spMkLst>
            <pc:docMk/>
            <pc:sldMk cId="2858838581" sldId="278"/>
            <ac:spMk id="15" creationId="{FF774D38-1F8C-0A96-4AC5-CACBE6E9491F}"/>
          </ac:spMkLst>
        </pc:spChg>
        <pc:spChg chg="add del mod modVis">
          <ac:chgData name="Warren Heaps" userId="b5f776f4-d2aa-4752-837a-86796e4c6c94" providerId="ADAL" clId="{775E38DF-7547-4EB7-819D-F21CF3EEFCB6}" dt="2025-10-08T01:54:38.747" v="82340"/>
          <ac:spMkLst>
            <pc:docMk/>
            <pc:sldMk cId="2858838581" sldId="278"/>
            <ac:spMk id="16" creationId="{BB1116D7-4632-DE21-E020-D9A1067BD769}"/>
          </ac:spMkLst>
        </pc:spChg>
        <pc:spChg chg="add del mod modVis">
          <ac:chgData name="Warren Heaps" userId="b5f776f4-d2aa-4752-837a-86796e4c6c94" providerId="ADAL" clId="{775E38DF-7547-4EB7-819D-F21CF3EEFCB6}" dt="2025-10-08T01:54:55.669" v="82388"/>
          <ac:spMkLst>
            <pc:docMk/>
            <pc:sldMk cId="2858838581" sldId="278"/>
            <ac:spMk id="17" creationId="{F3231F77-6C57-FA3B-A545-27567FB15C97}"/>
          </ac:spMkLst>
        </pc:spChg>
        <pc:spChg chg="add del mod modVis">
          <ac:chgData name="Warren Heaps" userId="b5f776f4-d2aa-4752-837a-86796e4c6c94" providerId="ADAL" clId="{775E38DF-7547-4EB7-819D-F21CF3EEFCB6}" dt="2025-10-08T01:55:14.754" v="82466"/>
          <ac:spMkLst>
            <pc:docMk/>
            <pc:sldMk cId="2858838581" sldId="278"/>
            <ac:spMk id="18" creationId="{94EEFFFC-95A0-6DA2-7E96-A5B08083453C}"/>
          </ac:spMkLst>
        </pc:spChg>
        <pc:spChg chg="add del mod modVis">
          <ac:chgData name="Warren Heaps" userId="b5f776f4-d2aa-4752-837a-86796e4c6c94" providerId="ADAL" clId="{775E38DF-7547-4EB7-819D-F21CF3EEFCB6}" dt="2025-10-08T01:55:15.919" v="82514"/>
          <ac:spMkLst>
            <pc:docMk/>
            <pc:sldMk cId="2858838581" sldId="278"/>
            <ac:spMk id="19" creationId="{87A1EEE2-7824-6B8D-1E18-AEDFFF469B8E}"/>
          </ac:spMkLst>
        </pc:spChg>
        <pc:spChg chg="add del mod modVis">
          <ac:chgData name="Warren Heaps" userId="b5f776f4-d2aa-4752-837a-86796e4c6c94" providerId="ADAL" clId="{775E38DF-7547-4EB7-819D-F21CF3EEFCB6}" dt="2025-10-08T01:55:20.296" v="82561"/>
          <ac:spMkLst>
            <pc:docMk/>
            <pc:sldMk cId="2858838581" sldId="278"/>
            <ac:spMk id="20" creationId="{7D925E70-7B04-F0EA-023C-86D6AFBF2E1D}"/>
          </ac:spMkLst>
        </pc:spChg>
        <pc:spChg chg="add del mod modVis">
          <ac:chgData name="Warren Heaps" userId="b5f776f4-d2aa-4752-837a-86796e4c6c94" providerId="ADAL" clId="{775E38DF-7547-4EB7-819D-F21CF3EEFCB6}" dt="2025-10-08T01:55:27.993" v="82609"/>
          <ac:spMkLst>
            <pc:docMk/>
            <pc:sldMk cId="2858838581" sldId="278"/>
            <ac:spMk id="21" creationId="{4ADC62FE-E8EE-CA85-200D-FA14B4A7C5F7}"/>
          </ac:spMkLst>
        </pc:spChg>
        <pc:spChg chg="add del mod modVis">
          <ac:chgData name="Warren Heaps" userId="b5f776f4-d2aa-4752-837a-86796e4c6c94" providerId="ADAL" clId="{775E38DF-7547-4EB7-819D-F21CF3EEFCB6}" dt="2025-10-08T01:55:30.500" v="82666"/>
          <ac:spMkLst>
            <pc:docMk/>
            <pc:sldMk cId="2858838581" sldId="278"/>
            <ac:spMk id="22" creationId="{7D469831-7D41-DD42-A0F4-0BAFD5775B60}"/>
          </ac:spMkLst>
        </pc:spChg>
        <pc:spChg chg="add del mod modVis">
          <ac:chgData name="Warren Heaps" userId="b5f776f4-d2aa-4752-837a-86796e4c6c94" providerId="ADAL" clId="{775E38DF-7547-4EB7-819D-F21CF3EEFCB6}" dt="2025-10-08T01:55:35.268" v="82744"/>
          <ac:spMkLst>
            <pc:docMk/>
            <pc:sldMk cId="2858838581" sldId="278"/>
            <ac:spMk id="23" creationId="{6CB01CFF-6CD8-480E-EA43-0C61AC1BF5A6}"/>
          </ac:spMkLst>
        </pc:spChg>
        <pc:spChg chg="add del mod modVis">
          <ac:chgData name="Warren Heaps" userId="b5f776f4-d2aa-4752-837a-86796e4c6c94" providerId="ADAL" clId="{775E38DF-7547-4EB7-819D-F21CF3EEFCB6}" dt="2025-10-08T01:55:37.385" v="82803"/>
          <ac:spMkLst>
            <pc:docMk/>
            <pc:sldMk cId="2858838581" sldId="278"/>
            <ac:spMk id="24" creationId="{7783E5F5-FD92-F4A0-4997-79400B773228}"/>
          </ac:spMkLst>
        </pc:spChg>
        <pc:spChg chg="add del mod modVis">
          <ac:chgData name="Warren Heaps" userId="b5f776f4-d2aa-4752-837a-86796e4c6c94" providerId="ADAL" clId="{775E38DF-7547-4EB7-819D-F21CF3EEFCB6}" dt="2025-10-08T01:55:40.333" v="82865"/>
          <ac:spMkLst>
            <pc:docMk/>
            <pc:sldMk cId="2858838581" sldId="278"/>
            <ac:spMk id="25" creationId="{F8A579E8-C770-E13C-BC01-D2BE553B55E3}"/>
          </ac:spMkLst>
        </pc:spChg>
        <pc:spChg chg="add del mod modVis">
          <ac:chgData name="Warren Heaps" userId="b5f776f4-d2aa-4752-837a-86796e4c6c94" providerId="ADAL" clId="{775E38DF-7547-4EB7-819D-F21CF3EEFCB6}" dt="2025-10-08T01:55:46.399" v="82913"/>
          <ac:spMkLst>
            <pc:docMk/>
            <pc:sldMk cId="2858838581" sldId="278"/>
            <ac:spMk id="26" creationId="{89BFA9C7-9B44-D38C-2836-F8DFABD70865}"/>
          </ac:spMkLst>
        </pc:spChg>
        <pc:spChg chg="add del mod modVis">
          <ac:chgData name="Warren Heaps" userId="b5f776f4-d2aa-4752-837a-86796e4c6c94" providerId="ADAL" clId="{775E38DF-7547-4EB7-819D-F21CF3EEFCB6}" dt="2025-10-08T01:55:48.400" v="82968"/>
          <ac:spMkLst>
            <pc:docMk/>
            <pc:sldMk cId="2858838581" sldId="278"/>
            <ac:spMk id="27" creationId="{8EA784D2-FB18-EDA1-C262-EFE8C71726D0}"/>
          </ac:spMkLst>
        </pc:spChg>
        <pc:spChg chg="add del mod modVis">
          <ac:chgData name="Warren Heaps" userId="b5f776f4-d2aa-4752-837a-86796e4c6c94" providerId="ADAL" clId="{775E38DF-7547-4EB7-819D-F21CF3EEFCB6}" dt="2025-10-08T01:55:50.729" v="83030"/>
          <ac:spMkLst>
            <pc:docMk/>
            <pc:sldMk cId="2858838581" sldId="278"/>
            <ac:spMk id="28" creationId="{306F8E82-BDC1-BF46-54DF-884D05C9333F}"/>
          </ac:spMkLst>
        </pc:spChg>
        <pc:spChg chg="add del mod modVis">
          <ac:chgData name="Warren Heaps" userId="b5f776f4-d2aa-4752-837a-86796e4c6c94" providerId="ADAL" clId="{775E38DF-7547-4EB7-819D-F21CF3EEFCB6}" dt="2025-10-08T01:55:51.871" v="83081"/>
          <ac:spMkLst>
            <pc:docMk/>
            <pc:sldMk cId="2858838581" sldId="278"/>
            <ac:spMk id="29" creationId="{882ECE1A-F1BC-0F28-93C8-F96F04B66272}"/>
          </ac:spMkLst>
        </pc:spChg>
        <pc:spChg chg="add del mod modVis">
          <ac:chgData name="Warren Heaps" userId="b5f776f4-d2aa-4752-837a-86796e4c6c94" providerId="ADAL" clId="{775E38DF-7547-4EB7-819D-F21CF3EEFCB6}" dt="2025-10-08T01:55:52.784" v="83129"/>
          <ac:spMkLst>
            <pc:docMk/>
            <pc:sldMk cId="2858838581" sldId="278"/>
            <ac:spMk id="30" creationId="{DC189A5D-2098-1F47-1FC9-D443125BFF0E}"/>
          </ac:spMkLst>
        </pc:spChg>
        <pc:spChg chg="add del mod modVis">
          <ac:chgData name="Warren Heaps" userId="b5f776f4-d2aa-4752-837a-86796e4c6c94" providerId="ADAL" clId="{775E38DF-7547-4EB7-819D-F21CF3EEFCB6}" dt="2025-10-08T01:55:59.565" v="83212"/>
          <ac:spMkLst>
            <pc:docMk/>
            <pc:sldMk cId="2858838581" sldId="278"/>
            <ac:spMk id="31" creationId="{CA661484-341D-4A0D-3936-3920F5F04B1A}"/>
          </ac:spMkLst>
        </pc:spChg>
        <pc:spChg chg="add del mod modVis">
          <ac:chgData name="Warren Heaps" userId="b5f776f4-d2aa-4752-837a-86796e4c6c94" providerId="ADAL" clId="{775E38DF-7547-4EB7-819D-F21CF3EEFCB6}" dt="2025-10-08T01:56:02.252" v="83273"/>
          <ac:spMkLst>
            <pc:docMk/>
            <pc:sldMk cId="2858838581" sldId="278"/>
            <ac:spMk id="32" creationId="{0DD55417-01AA-4EF8-EBF4-56E3645D3015}"/>
          </ac:spMkLst>
        </pc:spChg>
        <pc:spChg chg="add del mod modVis">
          <ac:chgData name="Warren Heaps" userId="b5f776f4-d2aa-4752-837a-86796e4c6c94" providerId="ADAL" clId="{775E38DF-7547-4EB7-819D-F21CF3EEFCB6}" dt="2025-10-08T01:56:04.298" v="83333"/>
          <ac:spMkLst>
            <pc:docMk/>
            <pc:sldMk cId="2858838581" sldId="278"/>
            <ac:spMk id="33" creationId="{D93AE41D-58D6-A9F3-96FA-D500B9EFED9D}"/>
          </ac:spMkLst>
        </pc:spChg>
        <pc:spChg chg="add del mod modVis">
          <ac:chgData name="Warren Heaps" userId="b5f776f4-d2aa-4752-837a-86796e4c6c94" providerId="ADAL" clId="{775E38DF-7547-4EB7-819D-F21CF3EEFCB6}" dt="2025-10-08T01:56:05.649" v="83386"/>
          <ac:spMkLst>
            <pc:docMk/>
            <pc:sldMk cId="2858838581" sldId="278"/>
            <ac:spMk id="34" creationId="{6A77BD6E-A613-0BA8-45E4-8FC7B630905E}"/>
          </ac:spMkLst>
        </pc:spChg>
        <pc:spChg chg="add del mod modVis">
          <ac:chgData name="Warren Heaps" userId="b5f776f4-d2aa-4752-837a-86796e4c6c94" providerId="ADAL" clId="{775E38DF-7547-4EB7-819D-F21CF3EEFCB6}" dt="2025-10-08T01:57:07.035" v="83433"/>
          <ac:spMkLst>
            <pc:docMk/>
            <pc:sldMk cId="2858838581" sldId="278"/>
            <ac:spMk id="35" creationId="{2BAD44A1-5741-835C-4DAF-316F9EBFAB70}"/>
          </ac:spMkLst>
        </pc:spChg>
        <pc:spChg chg="add del mod modVis">
          <ac:chgData name="Warren Heaps" userId="b5f776f4-d2aa-4752-837a-86796e4c6c94" providerId="ADAL" clId="{775E38DF-7547-4EB7-819D-F21CF3EEFCB6}" dt="2025-10-08T01:57:15.258" v="83480"/>
          <ac:spMkLst>
            <pc:docMk/>
            <pc:sldMk cId="2858838581" sldId="278"/>
            <ac:spMk id="36" creationId="{BCFB2FD1-3F68-D522-519F-8D7937B50AC1}"/>
          </ac:spMkLst>
        </pc:spChg>
        <pc:spChg chg="add del mod modVis">
          <ac:chgData name="Warren Heaps" userId="b5f776f4-d2aa-4752-837a-86796e4c6c94" providerId="ADAL" clId="{775E38DF-7547-4EB7-819D-F21CF3EEFCB6}" dt="2025-10-08T01:57:23.369" v="83541"/>
          <ac:spMkLst>
            <pc:docMk/>
            <pc:sldMk cId="2858838581" sldId="278"/>
            <ac:spMk id="37" creationId="{6659D061-15EF-C0DB-1BB3-B9885FC34F06}"/>
          </ac:spMkLst>
        </pc:spChg>
        <pc:spChg chg="add del mod modVis">
          <ac:chgData name="Warren Heaps" userId="b5f776f4-d2aa-4752-837a-86796e4c6c94" providerId="ADAL" clId="{775E38DF-7547-4EB7-819D-F21CF3EEFCB6}" dt="2025-10-08T01:57:31.655" v="83603"/>
          <ac:spMkLst>
            <pc:docMk/>
            <pc:sldMk cId="2858838581" sldId="278"/>
            <ac:spMk id="38" creationId="{CFB49D24-FE30-F480-3AE2-B4E6480D1165}"/>
          </ac:spMkLst>
        </pc:spChg>
        <pc:spChg chg="add del mod modVis">
          <ac:chgData name="Warren Heaps" userId="b5f776f4-d2aa-4752-837a-86796e4c6c94" providerId="ADAL" clId="{775E38DF-7547-4EB7-819D-F21CF3EEFCB6}" dt="2025-10-08T01:57:38.774" v="83664"/>
          <ac:spMkLst>
            <pc:docMk/>
            <pc:sldMk cId="2858838581" sldId="278"/>
            <ac:spMk id="39" creationId="{E9B739BB-2E30-7ECF-E86D-8D2944F372D7}"/>
          </ac:spMkLst>
        </pc:spChg>
        <pc:spChg chg="add del mod modVis">
          <ac:chgData name="Warren Heaps" userId="b5f776f4-d2aa-4752-837a-86796e4c6c94" providerId="ADAL" clId="{775E38DF-7547-4EB7-819D-F21CF3EEFCB6}" dt="2025-10-08T01:57:40.759" v="83726"/>
          <ac:spMkLst>
            <pc:docMk/>
            <pc:sldMk cId="2858838581" sldId="278"/>
            <ac:spMk id="40" creationId="{EF21B9E1-9A7D-C8DB-B45F-0A8B3C9A5E3E}"/>
          </ac:spMkLst>
        </pc:spChg>
        <pc:graphicFrameChg chg="add mod ord modVis">
          <ac:chgData name="Warren Heaps" userId="b5f776f4-d2aa-4752-837a-86796e4c6c94" providerId="ADAL" clId="{775E38DF-7547-4EB7-819D-F21CF3EEFCB6}" dt="2025-10-08T01:57:40.762" v="83728"/>
          <ac:graphicFrameMkLst>
            <pc:docMk/>
            <pc:sldMk cId="2858838581" sldId="278"/>
            <ac:graphicFrameMk id="3" creationId="{6BB6D505-7555-469F-1A64-75FCFFB3DFBB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13:01:31.589" v="85470"/>
        <pc:sldMkLst>
          <pc:docMk/>
          <pc:sldMk cId="728810422" sldId="281"/>
        </pc:sldMkLst>
        <pc:spChg chg="del mod ord">
          <ac:chgData name="Warren Heaps" userId="b5f776f4-d2aa-4752-837a-86796e4c6c94" providerId="ADAL" clId="{775E38DF-7547-4EB7-819D-F21CF3EEFCB6}" dt="2025-10-08T13:01:20.738" v="85438" actId="478"/>
          <ac:spMkLst>
            <pc:docMk/>
            <pc:sldMk cId="728810422" sldId="281"/>
            <ac:spMk id="2" creationId="{00000000-0000-0000-0000-000000000000}"/>
          </ac:spMkLst>
        </pc:spChg>
        <pc:spChg chg="mod ord">
          <ac:chgData name="Warren Heaps" userId="b5f776f4-d2aa-4752-837a-86796e4c6c94" providerId="ADAL" clId="{775E38DF-7547-4EB7-819D-F21CF3EEFCB6}" dt="2025-10-08T13:01:00.053" v="85396"/>
          <ac:spMkLst>
            <pc:docMk/>
            <pc:sldMk cId="728810422" sldId="281"/>
            <ac:spMk id="3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3:00:50.901" v="85314"/>
          <ac:spMkLst>
            <pc:docMk/>
            <pc:sldMk cId="728810422" sldId="281"/>
            <ac:spMk id="4" creationId="{5C960B04-A663-BB34-386B-EA1FF3F9D3B6}"/>
          </ac:spMkLst>
        </pc:spChg>
        <pc:spChg chg="add mod">
          <ac:chgData name="Warren Heaps" userId="b5f776f4-d2aa-4752-837a-86796e4c6c94" providerId="ADAL" clId="{775E38DF-7547-4EB7-819D-F21CF3EEFCB6}" dt="2025-10-08T13:01:31.424" v="85447"/>
          <ac:spMkLst>
            <pc:docMk/>
            <pc:sldMk cId="728810422" sldId="281"/>
            <ac:spMk id="6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01:00.071" v="85401"/>
          <ac:spMkLst>
            <pc:docMk/>
            <pc:sldMk cId="728810422" sldId="281"/>
            <ac:spMk id="7" creationId="{25258DCF-8320-71B3-147D-CFEFA647C571}"/>
          </ac:spMkLst>
        </pc:spChg>
        <pc:spChg chg="add del mod modVis">
          <ac:chgData name="Warren Heaps" userId="b5f776f4-d2aa-4752-837a-86796e4c6c94" providerId="ADAL" clId="{775E38DF-7547-4EB7-819D-F21CF3EEFCB6}" dt="2025-10-08T13:01:18.528" v="85435"/>
          <ac:spMkLst>
            <pc:docMk/>
            <pc:sldMk cId="728810422" sldId="281"/>
            <ac:spMk id="8" creationId="{4A5BC16A-91BF-F135-6CFB-9AAAD0BDDA1B}"/>
          </ac:spMkLst>
        </pc:spChg>
        <pc:spChg chg="add del mod modVis">
          <ac:chgData name="Warren Heaps" userId="b5f776f4-d2aa-4752-837a-86796e4c6c94" providerId="ADAL" clId="{775E38DF-7547-4EB7-819D-F21CF3EEFCB6}" dt="2025-10-08T13:01:31.585" v="85468"/>
          <ac:spMkLst>
            <pc:docMk/>
            <pc:sldMk cId="728810422" sldId="281"/>
            <ac:spMk id="9" creationId="{07D1059E-B094-5A87-9DC8-F26CD2F5E533}"/>
          </ac:spMkLst>
        </pc:spChg>
        <pc:graphicFrameChg chg="add mod ord modVis">
          <ac:chgData name="Warren Heaps" userId="b5f776f4-d2aa-4752-837a-86796e4c6c94" providerId="ADAL" clId="{775E38DF-7547-4EB7-819D-F21CF3EEFCB6}" dt="2025-10-08T13:01:31.589" v="85470"/>
          <ac:graphicFrameMkLst>
            <pc:docMk/>
            <pc:sldMk cId="728810422" sldId="281"/>
            <ac:graphicFrameMk id="5" creationId="{FBE6E197-1DE1-0A4E-73C7-E3AC53D50B53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13:02:14.582" v="85496"/>
        <pc:sldMkLst>
          <pc:docMk/>
          <pc:sldMk cId="2915761717" sldId="282"/>
        </pc:sldMkLst>
        <pc:spChg chg="mod ord">
          <ac:chgData name="Warren Heaps" userId="b5f776f4-d2aa-4752-837a-86796e4c6c94" providerId="ADAL" clId="{775E38DF-7547-4EB7-819D-F21CF3EEFCB6}" dt="2025-10-07T04:06:05.428" v="67652" actId="179"/>
          <ac:spMkLst>
            <pc:docMk/>
            <pc:sldMk cId="2915761717" sldId="282"/>
            <ac:spMk id="2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3:02:14.577" v="85494"/>
          <ac:spMkLst>
            <pc:docMk/>
            <pc:sldMk cId="2915761717" sldId="282"/>
            <ac:spMk id="3" creationId="{E3BE1D09-E6D0-1271-2362-520192C2FB41}"/>
          </ac:spMkLst>
        </pc:spChg>
        <pc:spChg chg="mod ord">
          <ac:chgData name="Warren Heaps" userId="b5f776f4-d2aa-4752-837a-86796e4c6c94" providerId="ADAL" clId="{775E38DF-7547-4EB7-819D-F21CF3EEFCB6}" dt="2025-10-08T13:02:14.465" v="85472" actId="948"/>
          <ac:spMkLst>
            <pc:docMk/>
            <pc:sldMk cId="2915761717" sldId="282"/>
            <ac:spMk id="4" creationId="{00000000-0000-0000-0000-000000000000}"/>
          </ac:spMkLst>
        </pc:spChg>
        <pc:graphicFrameChg chg="add mod ord modVis">
          <ac:chgData name="Warren Heaps" userId="b5f776f4-d2aa-4752-837a-86796e4c6c94" providerId="ADAL" clId="{775E38DF-7547-4EB7-819D-F21CF3EEFCB6}" dt="2025-10-08T13:02:14.582" v="85496"/>
          <ac:graphicFrameMkLst>
            <pc:docMk/>
            <pc:sldMk cId="2915761717" sldId="282"/>
            <ac:graphicFrameMk id="5" creationId="{551A278E-9F11-3323-6A06-1D3EA8696127}"/>
          </ac:graphicFrameMkLst>
        </pc:graphicFrameChg>
      </pc:sldChg>
      <pc:sldChg chg="addSp modSp mod modClrScheme chgLayout">
        <pc:chgData name="Warren Heaps" userId="b5f776f4-d2aa-4752-837a-86796e4c6c94" providerId="ADAL" clId="{775E38DF-7547-4EB7-819D-F21CF3EEFCB6}" dt="2025-10-07T04:06:31.488" v="67658"/>
        <pc:sldMkLst>
          <pc:docMk/>
          <pc:sldMk cId="1186691063" sldId="283"/>
        </pc:sldMkLst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k cId="1186691063" sldId="283"/>
            <ac:spMk id="2" creationId="{00000000-0000-0000-0000-000000000000}"/>
          </ac:spMkLst>
        </pc:spChg>
        <pc:spChg chg="mod ord">
          <ac:chgData name="Warren Heaps" userId="b5f776f4-d2aa-4752-837a-86796e4c6c94" providerId="ADAL" clId="{775E38DF-7547-4EB7-819D-F21CF3EEFCB6}" dt="2025-10-07T04:06:30.899" v="67656" actId="1076"/>
          <ac:spMkLst>
            <pc:docMk/>
            <pc:sldMk cId="1186691063" sldId="283"/>
            <ac:spMk id="4" creationId="{00000000-0000-0000-0000-000000000000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k cId="1186691063" sldId="283"/>
            <ac:spMk id="5" creationId="{00000000-0000-0000-0000-000000000000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k cId="1186691063" sldId="283"/>
            <ac:spMk id="6" creationId="{00000000-0000-0000-0000-000000000000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k cId="1186691063" sldId="283"/>
            <ac:spMk id="7" creationId="{00000000-0000-0000-0000-000000000000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k cId="1186691063" sldId="283"/>
            <ac:spMk id="8" creationId="{00000000-0000-0000-0000-000000000000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k cId="1186691063" sldId="283"/>
            <ac:spMk id="9" creationId="{00000000-0000-0000-0000-000000000000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k cId="1186691063" sldId="283"/>
            <ac:spMk id="10" creationId="{00000000-0000-0000-0000-000000000000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k cId="1186691063" sldId="283"/>
            <ac:spMk id="11" creationId="{00000000-0000-0000-0000-000000000000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k cId="1186691063" sldId="283"/>
            <ac:spMk id="13" creationId="{00000000-0000-0000-0000-000000000000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k cId="1186691063" sldId="283"/>
            <ac:spMk id="14" creationId="{00000000-0000-0000-0000-000000000000}"/>
          </ac:spMkLst>
        </pc:spChg>
        <pc:graphicFrameChg chg="add mod ord modVis">
          <ac:chgData name="Warren Heaps" userId="b5f776f4-d2aa-4752-837a-86796e4c6c94" providerId="ADAL" clId="{775E38DF-7547-4EB7-819D-F21CF3EEFCB6}" dt="2025-10-07T04:06:31.488" v="67658"/>
          <ac:graphicFrameMkLst>
            <pc:docMk/>
            <pc:sldMk cId="1186691063" sldId="283"/>
            <ac:graphicFrameMk id="16" creationId="{9B4D219D-B6B8-9532-AECB-9306D1CDF5CD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13:03:34.640" v="85825"/>
        <pc:sldMkLst>
          <pc:docMk/>
          <pc:sldMk cId="1514618635" sldId="284"/>
        </pc:sldMkLst>
        <pc:spChg chg="del mod ord">
          <ac:chgData name="Warren Heaps" userId="b5f776f4-d2aa-4752-837a-86796e4c6c94" providerId="ADAL" clId="{775E38DF-7547-4EB7-819D-F21CF3EEFCB6}" dt="2025-10-08T13:03:21.738" v="85775" actId="478"/>
          <ac:spMkLst>
            <pc:docMk/>
            <pc:sldMk cId="1514618635" sldId="284"/>
            <ac:spMk id="2" creationId="{00000000-0000-0000-0000-000000000000}"/>
          </ac:spMkLst>
        </pc:spChg>
        <pc:spChg chg="mod ord">
          <ac:chgData name="Warren Heaps" userId="b5f776f4-d2aa-4752-837a-86796e4c6c94" providerId="ADAL" clId="{775E38DF-7547-4EB7-819D-F21CF3EEFCB6}" dt="2025-10-08T13:02:33.996" v="85583"/>
          <ac:spMkLst>
            <pc:docMk/>
            <pc:sldMk cId="1514618635" sldId="284"/>
            <ac:spMk id="3" creationId="{00000000-0000-0000-0000-000000000000}"/>
          </ac:spMkLst>
        </pc:spChg>
        <pc:spChg chg="add mod">
          <ac:chgData name="Warren Heaps" userId="b5f776f4-d2aa-4752-837a-86796e4c6c94" providerId="ADAL" clId="{775E38DF-7547-4EB7-819D-F21CF3EEFCB6}" dt="2025-10-08T13:03:34.469" v="85802"/>
          <ac:spMkLst>
            <pc:docMk/>
            <pc:sldMk cId="1514618635" sldId="284"/>
            <ac:spMk id="4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02:34.004" v="85588"/>
          <ac:spMkLst>
            <pc:docMk/>
            <pc:sldMk cId="1514618635" sldId="284"/>
            <ac:spMk id="6" creationId="{A8FA7D59-F458-A0A1-42D9-77A872A416AA}"/>
          </ac:spMkLst>
        </pc:spChg>
        <pc:spChg chg="add del mod modVis">
          <ac:chgData name="Warren Heaps" userId="b5f776f4-d2aa-4752-837a-86796e4c6c94" providerId="ADAL" clId="{775E38DF-7547-4EB7-819D-F21CF3EEFCB6}" dt="2025-10-08T13:02:42.342" v="85616"/>
          <ac:spMkLst>
            <pc:docMk/>
            <pc:sldMk cId="1514618635" sldId="284"/>
            <ac:spMk id="7" creationId="{A1015EEB-C650-D015-3ED8-1F43E6268790}"/>
          </ac:spMkLst>
        </pc:spChg>
        <pc:spChg chg="add del mod modVis">
          <ac:chgData name="Warren Heaps" userId="b5f776f4-d2aa-4752-837a-86796e4c6c94" providerId="ADAL" clId="{775E38DF-7547-4EB7-819D-F21CF3EEFCB6}" dt="2025-10-08T13:02:53.819" v="85647"/>
          <ac:spMkLst>
            <pc:docMk/>
            <pc:sldMk cId="1514618635" sldId="284"/>
            <ac:spMk id="8" creationId="{3900A6FF-67F7-4CAB-9E00-C5976A58EDDA}"/>
          </ac:spMkLst>
        </pc:spChg>
        <pc:spChg chg="add del mod modVis">
          <ac:chgData name="Warren Heaps" userId="b5f776f4-d2aa-4752-837a-86796e4c6c94" providerId="ADAL" clId="{775E38DF-7547-4EB7-819D-F21CF3EEFCB6}" dt="2025-10-08T13:02:56.495" v="85672"/>
          <ac:spMkLst>
            <pc:docMk/>
            <pc:sldMk cId="1514618635" sldId="284"/>
            <ac:spMk id="9" creationId="{27A3FC10-7ADE-C472-2062-FEC2AE395008}"/>
          </ac:spMkLst>
        </pc:spChg>
        <pc:spChg chg="add del mod modVis">
          <ac:chgData name="Warren Heaps" userId="b5f776f4-d2aa-4752-837a-86796e4c6c94" providerId="ADAL" clId="{775E38DF-7547-4EB7-819D-F21CF3EEFCB6}" dt="2025-10-08T13:02:59.039" v="85697"/>
          <ac:spMkLst>
            <pc:docMk/>
            <pc:sldMk cId="1514618635" sldId="284"/>
            <ac:spMk id="10" creationId="{4334AA08-EA73-5FC9-4E94-751DA8E5BDBC}"/>
          </ac:spMkLst>
        </pc:spChg>
        <pc:spChg chg="add del mod modVis">
          <ac:chgData name="Warren Heaps" userId="b5f776f4-d2aa-4752-837a-86796e4c6c94" providerId="ADAL" clId="{775E38DF-7547-4EB7-819D-F21CF3EEFCB6}" dt="2025-10-08T13:03:02.180" v="85722"/>
          <ac:spMkLst>
            <pc:docMk/>
            <pc:sldMk cId="1514618635" sldId="284"/>
            <ac:spMk id="11" creationId="{AB1EC79E-9CFE-9D91-18C9-9C8A32CDEB44}"/>
          </ac:spMkLst>
        </pc:spChg>
        <pc:spChg chg="add del mod modVis">
          <ac:chgData name="Warren Heaps" userId="b5f776f4-d2aa-4752-837a-86796e4c6c94" providerId="ADAL" clId="{775E38DF-7547-4EB7-819D-F21CF3EEFCB6}" dt="2025-10-08T13:03:10.076" v="85747"/>
          <ac:spMkLst>
            <pc:docMk/>
            <pc:sldMk cId="1514618635" sldId="284"/>
            <ac:spMk id="12" creationId="{31067570-70D0-3C28-3B68-FA7B05E92AB9}"/>
          </ac:spMkLst>
        </pc:spChg>
        <pc:spChg chg="add del mod modVis">
          <ac:chgData name="Warren Heaps" userId="b5f776f4-d2aa-4752-837a-86796e4c6c94" providerId="ADAL" clId="{775E38DF-7547-4EB7-819D-F21CF3EEFCB6}" dt="2025-10-08T13:03:16.279" v="85772"/>
          <ac:spMkLst>
            <pc:docMk/>
            <pc:sldMk cId="1514618635" sldId="284"/>
            <ac:spMk id="13" creationId="{20B4D816-9F90-2995-1159-6F12FCB2C9B4}"/>
          </ac:spMkLst>
        </pc:spChg>
        <pc:spChg chg="add del mod modVis">
          <ac:chgData name="Warren Heaps" userId="b5f776f4-d2aa-4752-837a-86796e4c6c94" providerId="ADAL" clId="{775E38DF-7547-4EB7-819D-F21CF3EEFCB6}" dt="2025-10-08T13:03:29.419" v="85798"/>
          <ac:spMkLst>
            <pc:docMk/>
            <pc:sldMk cId="1514618635" sldId="284"/>
            <ac:spMk id="14" creationId="{6F10EFA6-D0C9-0781-237F-32A31CA1D88F}"/>
          </ac:spMkLst>
        </pc:spChg>
        <pc:spChg chg="add del mod modVis">
          <ac:chgData name="Warren Heaps" userId="b5f776f4-d2aa-4752-837a-86796e4c6c94" providerId="ADAL" clId="{775E38DF-7547-4EB7-819D-F21CF3EEFCB6}" dt="2025-10-08T13:03:34.635" v="85823"/>
          <ac:spMkLst>
            <pc:docMk/>
            <pc:sldMk cId="1514618635" sldId="284"/>
            <ac:spMk id="15" creationId="{2AA09026-7886-D567-75DE-E18400A5C61F}"/>
          </ac:spMkLst>
        </pc:spChg>
        <pc:graphicFrameChg chg="add mod ord modVis">
          <ac:chgData name="Warren Heaps" userId="b5f776f4-d2aa-4752-837a-86796e4c6c94" providerId="ADAL" clId="{775E38DF-7547-4EB7-819D-F21CF3EEFCB6}" dt="2025-10-08T13:03:34.640" v="85825"/>
          <ac:graphicFrameMkLst>
            <pc:docMk/>
            <pc:sldMk cId="1514618635" sldId="284"/>
            <ac:graphicFrameMk id="5" creationId="{4EA41FA6-7B67-9A10-B3FA-5DA0CFBABD6E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13:09:04.341" v="87389"/>
        <pc:sldMkLst>
          <pc:docMk/>
          <pc:sldMk cId="2878800643" sldId="285"/>
        </pc:sldMkLst>
        <pc:spChg chg="mod ord">
          <ac:chgData name="Warren Heaps" userId="b5f776f4-d2aa-4752-837a-86796e4c6c94" providerId="ADAL" clId="{775E38DF-7547-4EB7-819D-F21CF3EEFCB6}" dt="2025-10-08T13:05:09.638" v="85913"/>
          <ac:spMkLst>
            <pc:docMk/>
            <pc:sldMk cId="2878800643" sldId="285"/>
            <ac:spMk id="2" creationId="{00000000-0000-0000-0000-000000000000}"/>
          </ac:spMkLst>
        </pc:spChg>
        <pc:spChg chg="del mod ord">
          <ac:chgData name="Warren Heaps" userId="b5f776f4-d2aa-4752-837a-86796e4c6c94" providerId="ADAL" clId="{775E38DF-7547-4EB7-819D-F21CF3EEFCB6}" dt="2025-10-08T13:07:03.929" v="86959" actId="478"/>
          <ac:spMkLst>
            <pc:docMk/>
            <pc:sldMk cId="2878800643" sldId="285"/>
            <ac:spMk id="3" creationId="{00000000-0000-0000-0000-000000000000}"/>
          </ac:spMkLst>
        </pc:spChg>
        <pc:spChg chg="add mod">
          <ac:chgData name="Warren Heaps" userId="b5f776f4-d2aa-4752-837a-86796e4c6c94" providerId="ADAL" clId="{775E38DF-7547-4EB7-819D-F21CF3EEFCB6}" dt="2025-10-08T13:07:18.442" v="86969"/>
          <ac:spMkLst>
            <pc:docMk/>
            <pc:sldMk cId="2878800643" sldId="285"/>
            <ac:spMk id="4" creationId="{885371E8-7632-3C4A-ADA5-1A7187B6BE78}"/>
          </ac:spMkLst>
        </pc:spChg>
        <pc:spChg chg="del mod ord">
          <ac:chgData name="Warren Heaps" userId="b5f776f4-d2aa-4752-837a-86796e4c6c94" providerId="ADAL" clId="{775E38DF-7547-4EB7-819D-F21CF3EEFCB6}" dt="2025-10-08T13:07:03.929" v="86959" actId="478"/>
          <ac:spMkLst>
            <pc:docMk/>
            <pc:sldMk cId="2878800643" sldId="285"/>
            <ac:spMk id="6" creationId="{00000000-0000-0000-0000-000000000000}"/>
          </ac:spMkLst>
        </pc:spChg>
        <pc:spChg chg="del mod ord">
          <ac:chgData name="Warren Heaps" userId="b5f776f4-d2aa-4752-837a-86796e4c6c94" providerId="ADAL" clId="{775E38DF-7547-4EB7-819D-F21CF3EEFCB6}" dt="2025-10-08T13:07:03.929" v="86959" actId="478"/>
          <ac:spMkLst>
            <pc:docMk/>
            <pc:sldMk cId="2878800643" sldId="285"/>
            <ac:spMk id="7" creationId="{00000000-0000-0000-0000-000000000000}"/>
          </ac:spMkLst>
        </pc:spChg>
        <pc:spChg chg="del mod ord">
          <ac:chgData name="Warren Heaps" userId="b5f776f4-d2aa-4752-837a-86796e4c6c94" providerId="ADAL" clId="{775E38DF-7547-4EB7-819D-F21CF3EEFCB6}" dt="2025-10-08T13:07:03.929" v="86959" actId="478"/>
          <ac:spMkLst>
            <pc:docMk/>
            <pc:sldMk cId="2878800643" sldId="285"/>
            <ac:spMk id="8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3:05:09.655" v="85924"/>
          <ac:spMkLst>
            <pc:docMk/>
            <pc:sldMk cId="2878800643" sldId="285"/>
            <ac:spMk id="9" creationId="{A4CD3D6D-64F7-96D8-C3FC-CA45789A454E}"/>
          </ac:spMkLst>
        </pc:spChg>
        <pc:spChg chg="add del mod modVis">
          <ac:chgData name="Warren Heaps" userId="b5f776f4-d2aa-4752-837a-86796e4c6c94" providerId="ADAL" clId="{775E38DF-7547-4EB7-819D-F21CF3EEFCB6}" dt="2025-10-08T13:05:13.095" v="85958"/>
          <ac:spMkLst>
            <pc:docMk/>
            <pc:sldMk cId="2878800643" sldId="285"/>
            <ac:spMk id="10" creationId="{F0AAC4F3-EE02-A798-F5B8-2F6433220588}"/>
          </ac:spMkLst>
        </pc:spChg>
        <pc:spChg chg="add del mod modVis">
          <ac:chgData name="Warren Heaps" userId="b5f776f4-d2aa-4752-837a-86796e4c6c94" providerId="ADAL" clId="{775E38DF-7547-4EB7-819D-F21CF3EEFCB6}" dt="2025-10-08T13:05:30.975" v="86021"/>
          <ac:spMkLst>
            <pc:docMk/>
            <pc:sldMk cId="2878800643" sldId="285"/>
            <ac:spMk id="11" creationId="{B934888C-A1F1-8054-E53D-AAF3C672FBEC}"/>
          </ac:spMkLst>
        </pc:spChg>
        <pc:spChg chg="add del mod modVis">
          <ac:chgData name="Warren Heaps" userId="b5f776f4-d2aa-4752-837a-86796e4c6c94" providerId="ADAL" clId="{775E38DF-7547-4EB7-819D-F21CF3EEFCB6}" dt="2025-10-08T13:05:33.063" v="86052"/>
          <ac:spMkLst>
            <pc:docMk/>
            <pc:sldMk cId="2878800643" sldId="285"/>
            <ac:spMk id="12" creationId="{E6D93D18-1D55-A0D8-E595-792950816821}"/>
          </ac:spMkLst>
        </pc:spChg>
        <pc:spChg chg="add del mod modVis">
          <ac:chgData name="Warren Heaps" userId="b5f776f4-d2aa-4752-837a-86796e4c6c94" providerId="ADAL" clId="{775E38DF-7547-4EB7-819D-F21CF3EEFCB6}" dt="2025-10-08T13:05:34.822" v="86081"/>
          <ac:spMkLst>
            <pc:docMk/>
            <pc:sldMk cId="2878800643" sldId="285"/>
            <ac:spMk id="13" creationId="{CB4F0E15-F849-1C7E-B772-0C237FDD1D5D}"/>
          </ac:spMkLst>
        </pc:spChg>
        <pc:spChg chg="add del mod modVis">
          <ac:chgData name="Warren Heaps" userId="b5f776f4-d2aa-4752-837a-86796e4c6c94" providerId="ADAL" clId="{775E38DF-7547-4EB7-819D-F21CF3EEFCB6}" dt="2025-10-08T13:05:37.898" v="86121"/>
          <ac:spMkLst>
            <pc:docMk/>
            <pc:sldMk cId="2878800643" sldId="285"/>
            <ac:spMk id="14" creationId="{965D6532-9FA2-1E32-4DEC-2F01E128FEB4}"/>
          </ac:spMkLst>
        </pc:spChg>
        <pc:spChg chg="add mod">
          <ac:chgData name="Warren Heaps" userId="b5f776f4-d2aa-4752-837a-86796e4c6c94" providerId="ADAL" clId="{775E38DF-7547-4EB7-819D-F21CF3EEFCB6}" dt="2025-10-08T13:09:04.333" v="87387"/>
          <ac:spMkLst>
            <pc:docMk/>
            <pc:sldMk cId="2878800643" sldId="285"/>
            <ac:spMk id="15" creationId="{AE18E995-027D-9ECB-8048-262E71B64562}"/>
          </ac:spMkLst>
        </pc:spChg>
        <pc:spChg chg="add del mod modVis">
          <ac:chgData name="Warren Heaps" userId="b5f776f4-d2aa-4752-837a-86796e4c6c94" providerId="ADAL" clId="{775E38DF-7547-4EB7-819D-F21CF3EEFCB6}" dt="2025-10-08T13:05:41.778" v="86150"/>
          <ac:spMkLst>
            <pc:docMk/>
            <pc:sldMk cId="2878800643" sldId="285"/>
            <ac:spMk id="16" creationId="{22BA50A8-3DE7-03D7-B01C-2A54FCF28AD2}"/>
          </ac:spMkLst>
        </pc:spChg>
        <pc:spChg chg="add del mod modVis">
          <ac:chgData name="Warren Heaps" userId="b5f776f4-d2aa-4752-837a-86796e4c6c94" providerId="ADAL" clId="{775E38DF-7547-4EB7-819D-F21CF3EEFCB6}" dt="2025-10-08T13:05:45.779" v="86177"/>
          <ac:spMkLst>
            <pc:docMk/>
            <pc:sldMk cId="2878800643" sldId="285"/>
            <ac:spMk id="17" creationId="{52A4D6F0-C15C-E9E5-0C73-DAD1FD327621}"/>
          </ac:spMkLst>
        </pc:spChg>
        <pc:spChg chg="add del mod modVis">
          <ac:chgData name="Warren Heaps" userId="b5f776f4-d2aa-4752-837a-86796e4c6c94" providerId="ADAL" clId="{775E38DF-7547-4EB7-819D-F21CF3EEFCB6}" dt="2025-10-08T13:05:55.680" v="86234"/>
          <ac:spMkLst>
            <pc:docMk/>
            <pc:sldMk cId="2878800643" sldId="285"/>
            <ac:spMk id="18" creationId="{57A422B4-4018-8E2B-6DB8-CDEA51DBC865}"/>
          </ac:spMkLst>
        </pc:spChg>
        <pc:spChg chg="add del mod modVis">
          <ac:chgData name="Warren Heaps" userId="b5f776f4-d2aa-4752-837a-86796e4c6c94" providerId="ADAL" clId="{775E38DF-7547-4EB7-819D-F21CF3EEFCB6}" dt="2025-10-08T13:05:56.345" v="86260"/>
          <ac:spMkLst>
            <pc:docMk/>
            <pc:sldMk cId="2878800643" sldId="285"/>
            <ac:spMk id="19" creationId="{7DF439C2-3242-DE5A-02A2-6BFCF54FF706}"/>
          </ac:spMkLst>
        </pc:spChg>
        <pc:spChg chg="add del mod modVis">
          <ac:chgData name="Warren Heaps" userId="b5f776f4-d2aa-4752-837a-86796e4c6c94" providerId="ADAL" clId="{775E38DF-7547-4EB7-819D-F21CF3EEFCB6}" dt="2025-10-08T13:05:58.698" v="86288"/>
          <ac:spMkLst>
            <pc:docMk/>
            <pc:sldMk cId="2878800643" sldId="285"/>
            <ac:spMk id="20" creationId="{9B341DBF-7230-D733-046D-C0A975EA32FC}"/>
          </ac:spMkLst>
        </pc:spChg>
        <pc:spChg chg="add del mod modVis">
          <ac:chgData name="Warren Heaps" userId="b5f776f4-d2aa-4752-837a-86796e4c6c94" providerId="ADAL" clId="{775E38DF-7547-4EB7-819D-F21CF3EEFCB6}" dt="2025-10-08T13:06:02.273" v="86329"/>
          <ac:spMkLst>
            <pc:docMk/>
            <pc:sldMk cId="2878800643" sldId="285"/>
            <ac:spMk id="21" creationId="{3637CBC8-FE99-F524-C88F-C804F4D392B0}"/>
          </ac:spMkLst>
        </pc:spChg>
        <pc:spChg chg="add del mod modVis">
          <ac:chgData name="Warren Heaps" userId="b5f776f4-d2aa-4752-837a-86796e4c6c94" providerId="ADAL" clId="{775E38DF-7547-4EB7-819D-F21CF3EEFCB6}" dt="2025-10-08T13:06:04.705" v="86360"/>
          <ac:spMkLst>
            <pc:docMk/>
            <pc:sldMk cId="2878800643" sldId="285"/>
            <ac:spMk id="22" creationId="{6051D4A5-A430-D641-52C7-81E1F76F7EAD}"/>
          </ac:spMkLst>
        </pc:spChg>
        <pc:spChg chg="add del mod modVis">
          <ac:chgData name="Warren Heaps" userId="b5f776f4-d2aa-4752-837a-86796e4c6c94" providerId="ADAL" clId="{775E38DF-7547-4EB7-819D-F21CF3EEFCB6}" dt="2025-10-08T13:06:09.202" v="86391"/>
          <ac:spMkLst>
            <pc:docMk/>
            <pc:sldMk cId="2878800643" sldId="285"/>
            <ac:spMk id="23" creationId="{F0FA24CB-973D-58B9-A76A-EB130FB018B3}"/>
          </ac:spMkLst>
        </pc:spChg>
        <pc:spChg chg="add del mod modVis">
          <ac:chgData name="Warren Heaps" userId="b5f776f4-d2aa-4752-837a-86796e4c6c94" providerId="ADAL" clId="{775E38DF-7547-4EB7-819D-F21CF3EEFCB6}" dt="2025-10-08T13:06:10.392" v="86417"/>
          <ac:spMkLst>
            <pc:docMk/>
            <pc:sldMk cId="2878800643" sldId="285"/>
            <ac:spMk id="24" creationId="{93BD9820-D728-096D-8455-558FC3F78D9E}"/>
          </ac:spMkLst>
        </pc:spChg>
        <pc:spChg chg="add del mod modVis">
          <ac:chgData name="Warren Heaps" userId="b5f776f4-d2aa-4752-837a-86796e4c6c94" providerId="ADAL" clId="{775E38DF-7547-4EB7-819D-F21CF3EEFCB6}" dt="2025-10-08T13:06:14.169" v="86457"/>
          <ac:spMkLst>
            <pc:docMk/>
            <pc:sldMk cId="2878800643" sldId="285"/>
            <ac:spMk id="25" creationId="{9EA59873-F77D-B7A2-8301-70AE7F687500}"/>
          </ac:spMkLst>
        </pc:spChg>
        <pc:spChg chg="add del mod modVis">
          <ac:chgData name="Warren Heaps" userId="b5f776f4-d2aa-4752-837a-86796e4c6c94" providerId="ADAL" clId="{775E38DF-7547-4EB7-819D-F21CF3EEFCB6}" dt="2025-10-08T13:06:14.980" v="86483"/>
          <ac:spMkLst>
            <pc:docMk/>
            <pc:sldMk cId="2878800643" sldId="285"/>
            <ac:spMk id="26" creationId="{50AA82FB-99B5-C8AB-E7A5-C5D5D162A0A1}"/>
          </ac:spMkLst>
        </pc:spChg>
        <pc:spChg chg="add del mod modVis">
          <ac:chgData name="Warren Heaps" userId="b5f776f4-d2aa-4752-837a-86796e4c6c94" providerId="ADAL" clId="{775E38DF-7547-4EB7-819D-F21CF3EEFCB6}" dt="2025-10-08T13:06:18.380" v="86529"/>
          <ac:spMkLst>
            <pc:docMk/>
            <pc:sldMk cId="2878800643" sldId="285"/>
            <ac:spMk id="27" creationId="{A9BA99A8-E904-169C-18E4-AB41C299AFB9}"/>
          </ac:spMkLst>
        </pc:spChg>
        <pc:spChg chg="add del mod modVis">
          <ac:chgData name="Warren Heaps" userId="b5f776f4-d2aa-4752-837a-86796e4c6c94" providerId="ADAL" clId="{775E38DF-7547-4EB7-819D-F21CF3EEFCB6}" dt="2025-10-08T13:06:22.461" v="86578"/>
          <ac:spMkLst>
            <pc:docMk/>
            <pc:sldMk cId="2878800643" sldId="285"/>
            <ac:spMk id="28" creationId="{09ABB16B-1AAD-CFF2-94B3-B5535C939C51}"/>
          </ac:spMkLst>
        </pc:spChg>
        <pc:spChg chg="add del mod modVis">
          <ac:chgData name="Warren Heaps" userId="b5f776f4-d2aa-4752-837a-86796e4c6c94" providerId="ADAL" clId="{775E38DF-7547-4EB7-819D-F21CF3EEFCB6}" dt="2025-10-08T13:06:23.423" v="86605"/>
          <ac:spMkLst>
            <pc:docMk/>
            <pc:sldMk cId="2878800643" sldId="285"/>
            <ac:spMk id="29" creationId="{5A76C647-1670-D121-9B76-0BAC97E755C0}"/>
          </ac:spMkLst>
        </pc:spChg>
        <pc:spChg chg="add del mod modVis">
          <ac:chgData name="Warren Heaps" userId="b5f776f4-d2aa-4752-837a-86796e4c6c94" providerId="ADAL" clId="{775E38DF-7547-4EB7-819D-F21CF3EEFCB6}" dt="2025-10-08T13:06:24.107" v="86632"/>
          <ac:spMkLst>
            <pc:docMk/>
            <pc:sldMk cId="2878800643" sldId="285"/>
            <ac:spMk id="30" creationId="{F39FAA7D-C6BF-B138-6683-5BA78640119A}"/>
          </ac:spMkLst>
        </pc:spChg>
        <pc:spChg chg="add del mod modVis">
          <ac:chgData name="Warren Heaps" userId="b5f776f4-d2aa-4752-837a-86796e4c6c94" providerId="ADAL" clId="{775E38DF-7547-4EB7-819D-F21CF3EEFCB6}" dt="2025-10-08T13:06:24.802" v="86658"/>
          <ac:spMkLst>
            <pc:docMk/>
            <pc:sldMk cId="2878800643" sldId="285"/>
            <ac:spMk id="31" creationId="{479E493F-7F65-C26B-15BF-E503EFB63060}"/>
          </ac:spMkLst>
        </pc:spChg>
        <pc:spChg chg="add del mod modVis">
          <ac:chgData name="Warren Heaps" userId="b5f776f4-d2aa-4752-837a-86796e4c6c94" providerId="ADAL" clId="{775E38DF-7547-4EB7-819D-F21CF3EEFCB6}" dt="2025-10-08T13:06:28.249" v="86697"/>
          <ac:spMkLst>
            <pc:docMk/>
            <pc:sldMk cId="2878800643" sldId="285"/>
            <ac:spMk id="32" creationId="{0C179328-0854-EF04-3E83-ED9F9839189F}"/>
          </ac:spMkLst>
        </pc:spChg>
        <pc:spChg chg="add del mod modVis">
          <ac:chgData name="Warren Heaps" userId="b5f776f4-d2aa-4752-837a-86796e4c6c94" providerId="ADAL" clId="{775E38DF-7547-4EB7-819D-F21CF3EEFCB6}" dt="2025-10-08T13:06:29.031" v="86722"/>
          <ac:spMkLst>
            <pc:docMk/>
            <pc:sldMk cId="2878800643" sldId="285"/>
            <ac:spMk id="33" creationId="{C9ECDC6D-1CF5-41CB-9641-5752B56BE7E4}"/>
          </ac:spMkLst>
        </pc:spChg>
        <pc:spChg chg="add del mod modVis">
          <ac:chgData name="Warren Heaps" userId="b5f776f4-d2aa-4752-837a-86796e4c6c94" providerId="ADAL" clId="{775E38DF-7547-4EB7-819D-F21CF3EEFCB6}" dt="2025-10-08T13:06:29.787" v="86749"/>
          <ac:spMkLst>
            <pc:docMk/>
            <pc:sldMk cId="2878800643" sldId="285"/>
            <ac:spMk id="34" creationId="{AF9B78E9-1541-B4C7-1595-1043F994A194}"/>
          </ac:spMkLst>
        </pc:spChg>
        <pc:spChg chg="add del mod modVis">
          <ac:chgData name="Warren Heaps" userId="b5f776f4-d2aa-4752-837a-86796e4c6c94" providerId="ADAL" clId="{775E38DF-7547-4EB7-819D-F21CF3EEFCB6}" dt="2025-10-08T13:06:32.118" v="86781"/>
          <ac:spMkLst>
            <pc:docMk/>
            <pc:sldMk cId="2878800643" sldId="285"/>
            <ac:spMk id="35" creationId="{7BD08F3F-E8C4-7F31-D499-56C1AC1420A0}"/>
          </ac:spMkLst>
        </pc:spChg>
        <pc:spChg chg="add del mod modVis">
          <ac:chgData name="Warren Heaps" userId="b5f776f4-d2aa-4752-837a-86796e4c6c94" providerId="ADAL" clId="{775E38DF-7547-4EB7-819D-F21CF3EEFCB6}" dt="2025-10-08T13:06:33.578" v="86808"/>
          <ac:spMkLst>
            <pc:docMk/>
            <pc:sldMk cId="2878800643" sldId="285"/>
            <ac:spMk id="36" creationId="{561CB207-5C9B-2AFD-EC62-42D0E11DC06C}"/>
          </ac:spMkLst>
        </pc:spChg>
        <pc:spChg chg="add del mod modVis">
          <ac:chgData name="Warren Heaps" userId="b5f776f4-d2aa-4752-837a-86796e4c6c94" providerId="ADAL" clId="{775E38DF-7547-4EB7-819D-F21CF3EEFCB6}" dt="2025-10-08T13:06:37.805" v="86849"/>
          <ac:spMkLst>
            <pc:docMk/>
            <pc:sldMk cId="2878800643" sldId="285"/>
            <ac:spMk id="37" creationId="{A881E7D8-DE0B-A833-B79B-586EE3FCE756}"/>
          </ac:spMkLst>
        </pc:spChg>
        <pc:spChg chg="add del mod modVis">
          <ac:chgData name="Warren Heaps" userId="b5f776f4-d2aa-4752-837a-86796e4c6c94" providerId="ADAL" clId="{775E38DF-7547-4EB7-819D-F21CF3EEFCB6}" dt="2025-10-08T13:06:41.787" v="86874"/>
          <ac:spMkLst>
            <pc:docMk/>
            <pc:sldMk cId="2878800643" sldId="285"/>
            <ac:spMk id="38" creationId="{C9F3BEC4-74C4-27F6-4EB0-EB05909D9BDD}"/>
          </ac:spMkLst>
        </pc:spChg>
        <pc:spChg chg="add del mod modVis">
          <ac:chgData name="Warren Heaps" userId="b5f776f4-d2aa-4752-837a-86796e4c6c94" providerId="ADAL" clId="{775E38DF-7547-4EB7-819D-F21CF3EEFCB6}" dt="2025-10-08T13:06:46.895" v="86899"/>
          <ac:spMkLst>
            <pc:docMk/>
            <pc:sldMk cId="2878800643" sldId="285"/>
            <ac:spMk id="39" creationId="{332DF6A1-B8F6-0022-B5A9-20812DA1B526}"/>
          </ac:spMkLst>
        </pc:spChg>
        <pc:spChg chg="add del mod modVis">
          <ac:chgData name="Warren Heaps" userId="b5f776f4-d2aa-4752-837a-86796e4c6c94" providerId="ADAL" clId="{775E38DF-7547-4EB7-819D-F21CF3EEFCB6}" dt="2025-10-08T13:06:53.299" v="86927"/>
          <ac:spMkLst>
            <pc:docMk/>
            <pc:sldMk cId="2878800643" sldId="285"/>
            <ac:spMk id="40" creationId="{A7B3E8E6-6D88-6F34-060A-9C29C3F3D0DF}"/>
          </ac:spMkLst>
        </pc:spChg>
        <pc:spChg chg="add del mod modVis">
          <ac:chgData name="Warren Heaps" userId="b5f776f4-d2aa-4752-837a-86796e4c6c94" providerId="ADAL" clId="{775E38DF-7547-4EB7-819D-F21CF3EEFCB6}" dt="2025-10-08T13:06:54.992" v="86956"/>
          <ac:spMkLst>
            <pc:docMk/>
            <pc:sldMk cId="2878800643" sldId="285"/>
            <ac:spMk id="41" creationId="{715BCC77-5184-152E-F020-20ECDEA31434}"/>
          </ac:spMkLst>
        </pc:spChg>
        <pc:spChg chg="add del mod modVis">
          <ac:chgData name="Warren Heaps" userId="b5f776f4-d2aa-4752-837a-86796e4c6c94" providerId="ADAL" clId="{775E38DF-7547-4EB7-819D-F21CF3EEFCB6}" dt="2025-10-08T13:08:11.068" v="87020"/>
          <ac:spMkLst>
            <pc:docMk/>
            <pc:sldMk cId="2878800643" sldId="285"/>
            <ac:spMk id="42" creationId="{5476B384-8EA7-B5A6-3A00-C1D01AC4B1BE}"/>
          </ac:spMkLst>
        </pc:spChg>
        <pc:spChg chg="add del mod modVis">
          <ac:chgData name="Warren Heaps" userId="b5f776f4-d2aa-4752-837a-86796e4c6c94" providerId="ADAL" clId="{775E38DF-7547-4EB7-819D-F21CF3EEFCB6}" dt="2025-10-08T13:08:16.747" v="87062"/>
          <ac:spMkLst>
            <pc:docMk/>
            <pc:sldMk cId="2878800643" sldId="285"/>
            <ac:spMk id="43" creationId="{85DDF6EC-76B0-D35D-AD5B-53CA34C4E696}"/>
          </ac:spMkLst>
        </pc:spChg>
        <pc:spChg chg="add del mod modVis">
          <ac:chgData name="Warren Heaps" userId="b5f776f4-d2aa-4752-837a-86796e4c6c94" providerId="ADAL" clId="{775E38DF-7547-4EB7-819D-F21CF3EEFCB6}" dt="2025-10-08T13:08:18.143" v="87092"/>
          <ac:spMkLst>
            <pc:docMk/>
            <pc:sldMk cId="2878800643" sldId="285"/>
            <ac:spMk id="44" creationId="{3364B327-CC88-FF26-9974-021BD94E1FF5}"/>
          </ac:spMkLst>
        </pc:spChg>
        <pc:spChg chg="add del mod modVis">
          <ac:chgData name="Warren Heaps" userId="b5f776f4-d2aa-4752-837a-86796e4c6c94" providerId="ADAL" clId="{775E38DF-7547-4EB7-819D-F21CF3EEFCB6}" dt="2025-10-08T13:08:19.371" v="87120"/>
          <ac:spMkLst>
            <pc:docMk/>
            <pc:sldMk cId="2878800643" sldId="285"/>
            <ac:spMk id="45" creationId="{8EFAC08D-ED7D-44A3-C0FA-DCBBB22179EA}"/>
          </ac:spMkLst>
        </pc:spChg>
        <pc:spChg chg="add del mod modVis">
          <ac:chgData name="Warren Heaps" userId="b5f776f4-d2aa-4752-837a-86796e4c6c94" providerId="ADAL" clId="{775E38DF-7547-4EB7-819D-F21CF3EEFCB6}" dt="2025-10-08T13:08:20.190" v="87145"/>
          <ac:spMkLst>
            <pc:docMk/>
            <pc:sldMk cId="2878800643" sldId="285"/>
            <ac:spMk id="46" creationId="{A7414F9B-663E-58E0-9B98-4ED574C8E405}"/>
          </ac:spMkLst>
        </pc:spChg>
        <pc:spChg chg="add del mod modVis">
          <ac:chgData name="Warren Heaps" userId="b5f776f4-d2aa-4752-837a-86796e4c6c94" providerId="ADAL" clId="{775E38DF-7547-4EB7-819D-F21CF3EEFCB6}" dt="2025-10-08T13:08:24.327" v="87197"/>
          <ac:spMkLst>
            <pc:docMk/>
            <pc:sldMk cId="2878800643" sldId="285"/>
            <ac:spMk id="47" creationId="{28160F38-A57E-3005-5884-64C4888B1D2D}"/>
          </ac:spMkLst>
        </pc:spChg>
        <pc:spChg chg="add del mod modVis">
          <ac:chgData name="Warren Heaps" userId="b5f776f4-d2aa-4752-837a-86796e4c6c94" providerId="ADAL" clId="{775E38DF-7547-4EB7-819D-F21CF3EEFCB6}" dt="2025-10-08T13:08:26.937" v="87232"/>
          <ac:spMkLst>
            <pc:docMk/>
            <pc:sldMk cId="2878800643" sldId="285"/>
            <ac:spMk id="48" creationId="{2336B45C-13D1-9558-7F43-252E0066F16B}"/>
          </ac:spMkLst>
        </pc:spChg>
        <pc:spChg chg="add del mod modVis">
          <ac:chgData name="Warren Heaps" userId="b5f776f4-d2aa-4752-837a-86796e4c6c94" providerId="ADAL" clId="{775E38DF-7547-4EB7-819D-F21CF3EEFCB6}" dt="2025-10-08T13:08:28.510" v="87262"/>
          <ac:spMkLst>
            <pc:docMk/>
            <pc:sldMk cId="2878800643" sldId="285"/>
            <ac:spMk id="49" creationId="{0B926ADA-3AFD-73F6-F01C-49C070840C11}"/>
          </ac:spMkLst>
        </pc:spChg>
        <pc:spChg chg="add del mod modVis">
          <ac:chgData name="Warren Heaps" userId="b5f776f4-d2aa-4752-837a-86796e4c6c94" providerId="ADAL" clId="{775E38DF-7547-4EB7-819D-F21CF3EEFCB6}" dt="2025-10-08T13:08:30.124" v="87298"/>
          <ac:spMkLst>
            <pc:docMk/>
            <pc:sldMk cId="2878800643" sldId="285"/>
            <ac:spMk id="50" creationId="{70830342-4522-08EF-1D77-C4DDF1C28D16}"/>
          </ac:spMkLst>
        </pc:spChg>
        <pc:spChg chg="add del mod modVis">
          <ac:chgData name="Warren Heaps" userId="b5f776f4-d2aa-4752-837a-86796e4c6c94" providerId="ADAL" clId="{775E38DF-7547-4EB7-819D-F21CF3EEFCB6}" dt="2025-10-08T13:08:34.840" v="87357"/>
          <ac:spMkLst>
            <pc:docMk/>
            <pc:sldMk cId="2878800643" sldId="285"/>
            <ac:spMk id="51" creationId="{822F3657-2FC7-6781-38F8-91CC9E36C1F1}"/>
          </ac:spMkLst>
        </pc:spChg>
        <pc:spChg chg="add del mod modVis">
          <ac:chgData name="Warren Heaps" userId="b5f776f4-d2aa-4752-837a-86796e4c6c94" providerId="ADAL" clId="{775E38DF-7547-4EB7-819D-F21CF3EEFCB6}" dt="2025-10-08T13:08:40.293" v="87382"/>
          <ac:spMkLst>
            <pc:docMk/>
            <pc:sldMk cId="2878800643" sldId="285"/>
            <ac:spMk id="52" creationId="{56C13A43-68EC-51D4-5FAC-4ADC922E5202}"/>
          </ac:spMkLst>
        </pc:spChg>
        <pc:graphicFrameChg chg="add mod ord modVis">
          <ac:chgData name="Warren Heaps" userId="b5f776f4-d2aa-4752-837a-86796e4c6c94" providerId="ADAL" clId="{775E38DF-7547-4EB7-819D-F21CF3EEFCB6}" dt="2025-10-08T13:09:04.341" v="87389"/>
          <ac:graphicFrameMkLst>
            <pc:docMk/>
            <pc:sldMk cId="2878800643" sldId="285"/>
            <ac:graphicFrameMk id="5" creationId="{021A767F-2765-520A-4533-2CA2A72B09BB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13:57:33.953" v="97950"/>
        <pc:sldMkLst>
          <pc:docMk/>
          <pc:sldMk cId="440471241" sldId="287"/>
        </pc:sldMkLst>
        <pc:spChg chg="mod ord">
          <ac:chgData name="Warren Heaps" userId="b5f776f4-d2aa-4752-837a-86796e4c6c94" providerId="ADAL" clId="{775E38DF-7547-4EB7-819D-F21CF3EEFCB6}" dt="2025-10-08T13:55:45.475" v="97520"/>
          <ac:spMkLst>
            <pc:docMk/>
            <pc:sldMk cId="440471241" sldId="287"/>
            <ac:spMk id="2" creationId="{00000000-0000-0000-0000-000000000000}"/>
          </ac:spMkLst>
        </pc:spChg>
        <pc:spChg chg="del mod ord">
          <ac:chgData name="Warren Heaps" userId="b5f776f4-d2aa-4752-837a-86796e4c6c94" providerId="ADAL" clId="{775E38DF-7547-4EB7-819D-F21CF3EEFCB6}" dt="2025-10-08T13:55:54.411" v="97529" actId="478"/>
          <ac:spMkLst>
            <pc:docMk/>
            <pc:sldMk cId="440471241" sldId="287"/>
            <ac:spMk id="3" creationId="{00000000-0000-0000-0000-000000000000}"/>
          </ac:spMkLst>
        </pc:spChg>
        <pc:spChg chg="add mod">
          <ac:chgData name="Warren Heaps" userId="b5f776f4-d2aa-4752-837a-86796e4c6c94" providerId="ADAL" clId="{775E38DF-7547-4EB7-819D-F21CF3EEFCB6}" dt="2025-10-08T13:57:33.790" v="97927"/>
          <ac:spMkLst>
            <pc:docMk/>
            <pc:sldMk cId="440471241" sldId="287"/>
            <ac:spMk id="4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55:45.482" v="97525"/>
          <ac:spMkLst>
            <pc:docMk/>
            <pc:sldMk cId="440471241" sldId="287"/>
            <ac:spMk id="6" creationId="{F0D3BB50-EA3F-DA66-0E93-1FDBE2A09523}"/>
          </ac:spMkLst>
        </pc:spChg>
        <pc:spChg chg="add del mod modVis">
          <ac:chgData name="Warren Heaps" userId="b5f776f4-d2aa-4752-837a-86796e4c6c94" providerId="ADAL" clId="{775E38DF-7547-4EB7-819D-F21CF3EEFCB6}" dt="2025-10-08T13:55:59.763" v="97565"/>
          <ac:spMkLst>
            <pc:docMk/>
            <pc:sldMk cId="440471241" sldId="287"/>
            <ac:spMk id="7" creationId="{D81BE562-33F0-DD47-4679-4F11128B9460}"/>
          </ac:spMkLst>
        </pc:spChg>
        <pc:spChg chg="add del mod modVis">
          <ac:chgData name="Warren Heaps" userId="b5f776f4-d2aa-4752-837a-86796e4c6c94" providerId="ADAL" clId="{775E38DF-7547-4EB7-819D-F21CF3EEFCB6}" dt="2025-10-08T13:56:03.972" v="97601"/>
          <ac:spMkLst>
            <pc:docMk/>
            <pc:sldMk cId="440471241" sldId="287"/>
            <ac:spMk id="8" creationId="{0580B2E6-588E-DA44-17B6-30EA4CC12189}"/>
          </ac:spMkLst>
        </pc:spChg>
        <pc:spChg chg="add del mod modVis">
          <ac:chgData name="Warren Heaps" userId="b5f776f4-d2aa-4752-837a-86796e4c6c94" providerId="ADAL" clId="{775E38DF-7547-4EB7-819D-F21CF3EEFCB6}" dt="2025-10-08T13:56:10.051" v="97637"/>
          <ac:spMkLst>
            <pc:docMk/>
            <pc:sldMk cId="440471241" sldId="287"/>
            <ac:spMk id="9" creationId="{CFB58918-796F-A8E6-97D5-0EE1DDCEB5D3}"/>
          </ac:spMkLst>
        </pc:spChg>
        <pc:spChg chg="add del mod modVis">
          <ac:chgData name="Warren Heaps" userId="b5f776f4-d2aa-4752-837a-86796e4c6c94" providerId="ADAL" clId="{775E38DF-7547-4EB7-819D-F21CF3EEFCB6}" dt="2025-10-08T13:56:18.804" v="97670"/>
          <ac:spMkLst>
            <pc:docMk/>
            <pc:sldMk cId="440471241" sldId="287"/>
            <ac:spMk id="10" creationId="{C128B330-9C18-DBAF-7093-AFCABAE0FB1D}"/>
          </ac:spMkLst>
        </pc:spChg>
        <pc:spChg chg="add del mod modVis">
          <ac:chgData name="Warren Heaps" userId="b5f776f4-d2aa-4752-837a-86796e4c6c94" providerId="ADAL" clId="{775E38DF-7547-4EB7-819D-F21CF3EEFCB6}" dt="2025-10-08T13:56:25.506" v="97695"/>
          <ac:spMkLst>
            <pc:docMk/>
            <pc:sldMk cId="440471241" sldId="287"/>
            <ac:spMk id="11" creationId="{0930552B-19B8-526E-1D73-949820D74704}"/>
          </ac:spMkLst>
        </pc:spChg>
        <pc:spChg chg="add del mod modVis">
          <ac:chgData name="Warren Heaps" userId="b5f776f4-d2aa-4752-837a-86796e4c6c94" providerId="ADAL" clId="{775E38DF-7547-4EB7-819D-F21CF3EEFCB6}" dt="2025-10-08T13:56:38.210" v="97720"/>
          <ac:spMkLst>
            <pc:docMk/>
            <pc:sldMk cId="440471241" sldId="287"/>
            <ac:spMk id="12" creationId="{39BBBC81-A8E7-A3E9-82AD-D6301F79A75B}"/>
          </ac:spMkLst>
        </pc:spChg>
        <pc:spChg chg="add del mod modVis">
          <ac:chgData name="Warren Heaps" userId="b5f776f4-d2aa-4752-837a-86796e4c6c94" providerId="ADAL" clId="{775E38DF-7547-4EB7-819D-F21CF3EEFCB6}" dt="2025-10-08T13:57:04.024" v="97750"/>
          <ac:spMkLst>
            <pc:docMk/>
            <pc:sldMk cId="440471241" sldId="287"/>
            <ac:spMk id="13" creationId="{1426B6B9-679E-24D9-1965-70FB9AF9931D}"/>
          </ac:spMkLst>
        </pc:spChg>
        <pc:spChg chg="add del mod modVis">
          <ac:chgData name="Warren Heaps" userId="b5f776f4-d2aa-4752-837a-86796e4c6c94" providerId="ADAL" clId="{775E38DF-7547-4EB7-819D-F21CF3EEFCB6}" dt="2025-10-08T13:57:07.777" v="97787"/>
          <ac:spMkLst>
            <pc:docMk/>
            <pc:sldMk cId="440471241" sldId="287"/>
            <ac:spMk id="14" creationId="{33A1D9A3-B33B-FAC2-E6AF-0915D4BDC20A}"/>
          </ac:spMkLst>
        </pc:spChg>
        <pc:spChg chg="add del mod modVis">
          <ac:chgData name="Warren Heaps" userId="b5f776f4-d2aa-4752-837a-86796e4c6c94" providerId="ADAL" clId="{775E38DF-7547-4EB7-819D-F21CF3EEFCB6}" dt="2025-10-08T13:57:09.239" v="97813"/>
          <ac:spMkLst>
            <pc:docMk/>
            <pc:sldMk cId="440471241" sldId="287"/>
            <ac:spMk id="15" creationId="{A49CED93-F5F6-FBC3-EA26-3DD1639F45D5}"/>
          </ac:spMkLst>
        </pc:spChg>
        <pc:spChg chg="add del mod modVis">
          <ac:chgData name="Warren Heaps" userId="b5f776f4-d2aa-4752-837a-86796e4c6c94" providerId="ADAL" clId="{775E38DF-7547-4EB7-819D-F21CF3EEFCB6}" dt="2025-10-08T13:57:20.152" v="97844"/>
          <ac:spMkLst>
            <pc:docMk/>
            <pc:sldMk cId="440471241" sldId="287"/>
            <ac:spMk id="16" creationId="{6EF4D42A-A2CA-8EBD-321E-389849206AAE}"/>
          </ac:spMkLst>
        </pc:spChg>
        <pc:spChg chg="add del mod modVis">
          <ac:chgData name="Warren Heaps" userId="b5f776f4-d2aa-4752-837a-86796e4c6c94" providerId="ADAL" clId="{775E38DF-7547-4EB7-819D-F21CF3EEFCB6}" dt="2025-10-08T13:57:26.156" v="97869"/>
          <ac:spMkLst>
            <pc:docMk/>
            <pc:sldMk cId="440471241" sldId="287"/>
            <ac:spMk id="17" creationId="{F61A6EDF-75DF-81B5-AF9C-43E5D9BF37BB}"/>
          </ac:spMkLst>
        </pc:spChg>
        <pc:spChg chg="add del mod modVis">
          <ac:chgData name="Warren Heaps" userId="b5f776f4-d2aa-4752-837a-86796e4c6c94" providerId="ADAL" clId="{775E38DF-7547-4EB7-819D-F21CF3EEFCB6}" dt="2025-10-08T13:57:26.857" v="97894"/>
          <ac:spMkLst>
            <pc:docMk/>
            <pc:sldMk cId="440471241" sldId="287"/>
            <ac:spMk id="18" creationId="{F26EDF37-0E93-AB49-94B7-2FA9BD75B518}"/>
          </ac:spMkLst>
        </pc:spChg>
        <pc:spChg chg="add del mod modVis">
          <ac:chgData name="Warren Heaps" userId="b5f776f4-d2aa-4752-837a-86796e4c6c94" providerId="ADAL" clId="{775E38DF-7547-4EB7-819D-F21CF3EEFCB6}" dt="2025-10-08T13:57:28.519" v="97923"/>
          <ac:spMkLst>
            <pc:docMk/>
            <pc:sldMk cId="440471241" sldId="287"/>
            <ac:spMk id="19" creationId="{8D1D4BB1-6A82-9388-C44E-F82ED98641BB}"/>
          </ac:spMkLst>
        </pc:spChg>
        <pc:spChg chg="add del mod modVis">
          <ac:chgData name="Warren Heaps" userId="b5f776f4-d2aa-4752-837a-86796e4c6c94" providerId="ADAL" clId="{775E38DF-7547-4EB7-819D-F21CF3EEFCB6}" dt="2025-10-08T13:57:33.949" v="97948"/>
          <ac:spMkLst>
            <pc:docMk/>
            <pc:sldMk cId="440471241" sldId="287"/>
            <ac:spMk id="20" creationId="{090FC142-764E-3C1B-0836-248585ED0C57}"/>
          </ac:spMkLst>
        </pc:spChg>
        <pc:graphicFrameChg chg="add mod ord modVis">
          <ac:chgData name="Warren Heaps" userId="b5f776f4-d2aa-4752-837a-86796e4c6c94" providerId="ADAL" clId="{775E38DF-7547-4EB7-819D-F21CF3EEFCB6}" dt="2025-10-08T13:57:33.953" v="97950"/>
          <ac:graphicFrameMkLst>
            <pc:docMk/>
            <pc:sldMk cId="440471241" sldId="287"/>
            <ac:graphicFrameMk id="5" creationId="{7FB0A3FC-6F61-5FCA-CF58-393CCA78116A}"/>
          </ac:graphicFrameMkLst>
        </pc:graphicFrameChg>
      </pc:sldChg>
      <pc:sldChg chg="addSp delSp modSp mod modClrScheme chgLayout modNotes">
        <pc:chgData name="Warren Heaps" userId="b5f776f4-d2aa-4752-837a-86796e4c6c94" providerId="ADAL" clId="{775E38DF-7547-4EB7-819D-F21CF3EEFCB6}" dt="2025-10-07T18:11:14.887" v="67917" actId="20577"/>
        <pc:sldMkLst>
          <pc:docMk/>
          <pc:sldMk cId="2213166861" sldId="291"/>
        </pc:sldMkLst>
        <pc:spChg chg="mod ord">
          <ac:chgData name="Warren Heaps" userId="b5f776f4-d2aa-4752-837a-86796e4c6c94" providerId="ADAL" clId="{775E38DF-7547-4EB7-819D-F21CF3EEFCB6}" dt="2025-10-07T18:11:14.887" v="67917" actId="20577"/>
          <ac:spMkLst>
            <pc:docMk/>
            <pc:sldMk cId="2213166861" sldId="291"/>
            <ac:spMk id="3" creationId="{00000000-0000-0000-0000-000000000000}"/>
          </ac:spMkLst>
        </pc:spChg>
        <pc:spChg chg="add mod ord">
          <ac:chgData name="Warren Heaps" userId="b5f776f4-d2aa-4752-837a-86796e4c6c94" providerId="ADAL" clId="{775E38DF-7547-4EB7-819D-F21CF3EEFCB6}" dt="2025-10-07T02:42:17.637" v="46367" actId="948"/>
          <ac:spMkLst>
            <pc:docMk/>
            <pc:sldMk cId="2213166861" sldId="291"/>
            <ac:spMk id="6" creationId="{240F3497-AA7B-FDBB-C8E2-30675F916E71}"/>
          </ac:spMkLst>
        </pc:spChg>
        <pc:graphicFrameChg chg="add mod ord modVis">
          <ac:chgData name="Warren Heaps" userId="b5f776f4-d2aa-4752-837a-86796e4c6c94" providerId="ADAL" clId="{775E38DF-7547-4EB7-819D-F21CF3EEFCB6}" dt="2025-10-07T02:42:17.696" v="46390"/>
          <ac:graphicFrameMkLst>
            <pc:docMk/>
            <pc:sldMk cId="2213166861" sldId="291"/>
            <ac:graphicFrameMk id="5" creationId="{E0E7A186-5369-6745-E476-0606EF8B5F65}"/>
          </ac:graphicFrameMkLst>
        </pc:graphicFrameChg>
        <pc:picChg chg="mod">
          <ac:chgData name="Warren Heaps" userId="b5f776f4-d2aa-4752-837a-86796e4c6c94" providerId="ADAL" clId="{775E38DF-7547-4EB7-819D-F21CF3EEFCB6}" dt="2025-10-07T02:41:45.619" v="46159" actId="2085"/>
          <ac:picMkLst>
            <pc:docMk/>
            <pc:sldMk cId="2213166861" sldId="291"/>
            <ac:picMk id="4" creationId="{00000000-0000-0000-0000-000000000000}"/>
          </ac:picMkLst>
        </pc:picChg>
      </pc:sldChg>
      <pc:sldChg chg="addSp delSp modSp del mod modClrScheme chgLayout modNotes">
        <pc:chgData name="Warren Heaps" userId="b5f776f4-d2aa-4752-837a-86796e4c6c94" providerId="ADAL" clId="{775E38DF-7547-4EB7-819D-F21CF3EEFCB6}" dt="2025-10-07T02:43:25" v="46423" actId="47"/>
        <pc:sldMkLst>
          <pc:docMk/>
          <pc:sldMk cId="2891649104" sldId="292"/>
        </pc:sldMkLst>
      </pc:sldChg>
      <pc:sldChg chg="addSp delSp modSp del mod modClrScheme chgLayout modNotes">
        <pc:chgData name="Warren Heaps" userId="b5f776f4-d2aa-4752-837a-86796e4c6c94" providerId="ADAL" clId="{775E38DF-7547-4EB7-819D-F21CF3EEFCB6}" dt="2025-10-07T02:43:28.017" v="46424" actId="47"/>
        <pc:sldMkLst>
          <pc:docMk/>
          <pc:sldMk cId="380193800" sldId="294"/>
        </pc:sldMkLst>
      </pc:sldChg>
      <pc:sldChg chg="addSp delSp modSp mod modClrScheme chgLayout modNotes">
        <pc:chgData name="Warren Heaps" userId="b5f776f4-d2aa-4752-837a-86796e4c6c94" providerId="ADAL" clId="{775E38DF-7547-4EB7-819D-F21CF3EEFCB6}" dt="2025-10-07T02:48:16.890" v="49618"/>
        <pc:sldMkLst>
          <pc:docMk/>
          <pc:sldMk cId="2313076482" sldId="295"/>
        </pc:sldMkLst>
        <pc:spChg chg="mod ord">
          <ac:chgData name="Warren Heaps" userId="b5f776f4-d2aa-4752-837a-86796e4c6c94" providerId="ADAL" clId="{775E38DF-7547-4EB7-819D-F21CF3EEFCB6}" dt="2025-10-07T02:44:55.440" v="47086" actId="948"/>
          <ac:spMkLst>
            <pc:docMk/>
            <pc:sldMk cId="2313076482" sldId="295"/>
            <ac:spMk id="2" creationId="{00000000-0000-0000-0000-000000000000}"/>
          </ac:spMkLst>
        </pc:spChg>
        <pc:spChg chg="add mod">
          <ac:chgData name="Warren Heaps" userId="b5f776f4-d2aa-4752-837a-86796e4c6c94" providerId="ADAL" clId="{775E38DF-7547-4EB7-819D-F21CF3EEFCB6}" dt="2025-10-07T02:48:16.607" v="49543"/>
          <ac:spMkLst>
            <pc:docMk/>
            <pc:sldMk cId="2313076482" sldId="295"/>
            <ac:spMk id="5" creationId="{885371E8-7632-3C4A-ADA5-1A7187B6BE78}"/>
          </ac:spMkLst>
        </pc:spChg>
        <pc:graphicFrameChg chg="add mod ord modVis">
          <ac:chgData name="Warren Heaps" userId="b5f776f4-d2aa-4752-837a-86796e4c6c94" providerId="ADAL" clId="{775E38DF-7547-4EB7-819D-F21CF3EEFCB6}" dt="2025-10-07T02:48:16.890" v="49618"/>
          <ac:graphicFrameMkLst>
            <pc:docMk/>
            <pc:sldMk cId="2313076482" sldId="295"/>
            <ac:graphicFrameMk id="4" creationId="{D48C5C20-75C7-3794-6EA8-DB4195763771}"/>
          </ac:graphicFrameMkLst>
        </pc:graphicFrameChg>
      </pc:sldChg>
      <pc:sldChg chg="addSp delSp modSp mod modClrScheme chgLayout modNotes">
        <pc:chgData name="Warren Heaps" userId="b5f776f4-d2aa-4752-837a-86796e4c6c94" providerId="ADAL" clId="{775E38DF-7547-4EB7-819D-F21CF3EEFCB6}" dt="2025-10-08T14:59:32.696" v="101848"/>
        <pc:sldMkLst>
          <pc:docMk/>
          <pc:sldMk cId="2923344828" sldId="296"/>
        </pc:sldMkLst>
        <pc:spChg chg="mod ord">
          <ac:chgData name="Warren Heaps" userId="b5f776f4-d2aa-4752-837a-86796e4c6c94" providerId="ADAL" clId="{775E38DF-7547-4EB7-819D-F21CF3EEFCB6}" dt="2025-10-08T14:56:55.167" v="101202"/>
          <ac:spMkLst>
            <pc:docMk/>
            <pc:sldMk cId="2923344828" sldId="296"/>
            <ac:spMk id="2" creationId="{00000000-0000-0000-0000-000000000000}"/>
          </ac:spMkLst>
        </pc:spChg>
        <pc:spChg chg="del mod ord">
          <ac:chgData name="Warren Heaps" userId="b5f776f4-d2aa-4752-837a-86796e4c6c94" providerId="ADAL" clId="{775E38DF-7547-4EB7-819D-F21CF3EEFCB6}" dt="2025-10-08T14:02:41.529" v="99188" actId="478"/>
          <ac:spMkLst>
            <pc:docMk/>
            <pc:sldMk cId="2923344828" sldId="296"/>
            <ac:spMk id="3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4:00:45.461" v="99131"/>
          <ac:spMkLst>
            <pc:docMk/>
            <pc:sldMk cId="2923344828" sldId="296"/>
            <ac:spMk id="5" creationId="{EF264686-CB91-93C5-B9DC-9C623D2A2074}"/>
          </ac:spMkLst>
        </pc:spChg>
        <pc:spChg chg="add del mod modVis">
          <ac:chgData name="Warren Heaps" userId="b5f776f4-d2aa-4752-837a-86796e4c6c94" providerId="ADAL" clId="{775E38DF-7547-4EB7-819D-F21CF3EEFCB6}" dt="2025-10-08T14:00:50.689" v="99159"/>
          <ac:spMkLst>
            <pc:docMk/>
            <pc:sldMk cId="2923344828" sldId="296"/>
            <ac:spMk id="6" creationId="{FD42862D-ACF6-59EE-29A4-EB37D203EBFD}"/>
          </ac:spMkLst>
        </pc:spChg>
        <pc:spChg chg="add del mod modVis">
          <ac:chgData name="Warren Heaps" userId="b5f776f4-d2aa-4752-837a-86796e4c6c94" providerId="ADAL" clId="{775E38DF-7547-4EB7-819D-F21CF3EEFCB6}" dt="2025-10-08T14:00:51.860" v="99184"/>
          <ac:spMkLst>
            <pc:docMk/>
            <pc:sldMk cId="2923344828" sldId="296"/>
            <ac:spMk id="7" creationId="{64488AFD-4892-C78C-EBD3-CEB691927A9E}"/>
          </ac:spMkLst>
        </pc:spChg>
        <pc:spChg chg="add del mod">
          <ac:chgData name="Warren Heaps" userId="b5f776f4-d2aa-4752-837a-86796e4c6c94" providerId="ADAL" clId="{775E38DF-7547-4EB7-819D-F21CF3EEFCB6}" dt="2025-10-08T14:55:26.017" v="100867"/>
          <ac:spMkLst>
            <pc:docMk/>
            <pc:sldMk cId="2923344828" sldId="296"/>
            <ac:spMk id="8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4:02:47.633" v="99270"/>
          <ac:spMkLst>
            <pc:docMk/>
            <pc:sldMk cId="2923344828" sldId="296"/>
            <ac:spMk id="9" creationId="{2E7A795A-9021-BE76-25E6-5A250D91971E}"/>
          </ac:spMkLst>
        </pc:spChg>
        <pc:spChg chg="add del mod modVis">
          <ac:chgData name="Warren Heaps" userId="b5f776f4-d2aa-4752-837a-86796e4c6c94" providerId="ADAL" clId="{775E38DF-7547-4EB7-819D-F21CF3EEFCB6}" dt="2025-10-08T14:02:57.485" v="99298"/>
          <ac:spMkLst>
            <pc:docMk/>
            <pc:sldMk cId="2923344828" sldId="296"/>
            <ac:spMk id="10" creationId="{61298708-6B09-9750-C7BE-147B94A08737}"/>
          </ac:spMkLst>
        </pc:spChg>
        <pc:spChg chg="add del mod modVis">
          <ac:chgData name="Warren Heaps" userId="b5f776f4-d2aa-4752-837a-86796e4c6c94" providerId="ADAL" clId="{775E38DF-7547-4EB7-819D-F21CF3EEFCB6}" dt="2025-10-08T14:03:08.370" v="99329"/>
          <ac:spMkLst>
            <pc:docMk/>
            <pc:sldMk cId="2923344828" sldId="296"/>
            <ac:spMk id="11" creationId="{58D747CB-FD62-168A-9E58-5515770CEE39}"/>
          </ac:spMkLst>
        </pc:spChg>
        <pc:spChg chg="add del mod modVis">
          <ac:chgData name="Warren Heaps" userId="b5f776f4-d2aa-4752-837a-86796e4c6c94" providerId="ADAL" clId="{775E38DF-7547-4EB7-819D-F21CF3EEFCB6}" dt="2025-10-08T14:03:12.610" v="99354"/>
          <ac:spMkLst>
            <pc:docMk/>
            <pc:sldMk cId="2923344828" sldId="296"/>
            <ac:spMk id="12" creationId="{EF4D2314-4097-2A4A-077D-77A382E571F5}"/>
          </ac:spMkLst>
        </pc:spChg>
        <pc:spChg chg="add del mod modVis">
          <ac:chgData name="Warren Heaps" userId="b5f776f4-d2aa-4752-837a-86796e4c6c94" providerId="ADAL" clId="{775E38DF-7547-4EB7-819D-F21CF3EEFCB6}" dt="2025-10-08T14:03:20.863" v="99385"/>
          <ac:spMkLst>
            <pc:docMk/>
            <pc:sldMk cId="2923344828" sldId="296"/>
            <ac:spMk id="13" creationId="{C070938B-ED9E-456C-6218-738523258CA5}"/>
          </ac:spMkLst>
        </pc:spChg>
        <pc:spChg chg="add del mod modVis">
          <ac:chgData name="Warren Heaps" userId="b5f776f4-d2aa-4752-837a-86796e4c6c94" providerId="ADAL" clId="{775E38DF-7547-4EB7-819D-F21CF3EEFCB6}" dt="2025-10-08T14:03:22.456" v="99410"/>
          <ac:spMkLst>
            <pc:docMk/>
            <pc:sldMk cId="2923344828" sldId="296"/>
            <ac:spMk id="14" creationId="{538D26CB-7834-2612-71E5-DB2B5A221096}"/>
          </ac:spMkLst>
        </pc:spChg>
        <pc:spChg chg="add del mod modVis">
          <ac:chgData name="Warren Heaps" userId="b5f776f4-d2aa-4752-837a-86796e4c6c94" providerId="ADAL" clId="{775E38DF-7547-4EB7-819D-F21CF3EEFCB6}" dt="2025-10-08T14:03:23.434" v="99435"/>
          <ac:spMkLst>
            <pc:docMk/>
            <pc:sldMk cId="2923344828" sldId="296"/>
            <ac:spMk id="15" creationId="{7A4DE4FF-25AD-F882-D572-16DE2B2CBBD4}"/>
          </ac:spMkLst>
        </pc:spChg>
        <pc:spChg chg="add del mod modVis">
          <ac:chgData name="Warren Heaps" userId="b5f776f4-d2aa-4752-837a-86796e4c6c94" providerId="ADAL" clId="{775E38DF-7547-4EB7-819D-F21CF3EEFCB6}" dt="2025-10-08T14:03:28.207" v="99460"/>
          <ac:spMkLst>
            <pc:docMk/>
            <pc:sldMk cId="2923344828" sldId="296"/>
            <ac:spMk id="16" creationId="{A2222AB6-0D70-56A4-543A-96555535B5A6}"/>
          </ac:spMkLst>
        </pc:spChg>
        <pc:spChg chg="add del mod modVis">
          <ac:chgData name="Warren Heaps" userId="b5f776f4-d2aa-4752-837a-86796e4c6c94" providerId="ADAL" clId="{775E38DF-7547-4EB7-819D-F21CF3EEFCB6}" dt="2025-10-08T14:03:29.835" v="99493"/>
          <ac:spMkLst>
            <pc:docMk/>
            <pc:sldMk cId="2923344828" sldId="296"/>
            <ac:spMk id="17" creationId="{5B97B3D7-1810-2D90-C706-4EE3FF0F7281}"/>
          </ac:spMkLst>
        </pc:spChg>
        <pc:spChg chg="add del mod modVis">
          <ac:chgData name="Warren Heaps" userId="b5f776f4-d2aa-4752-837a-86796e4c6c94" providerId="ADAL" clId="{775E38DF-7547-4EB7-819D-F21CF3EEFCB6}" dt="2025-10-08T14:03:33.658" v="99527"/>
          <ac:spMkLst>
            <pc:docMk/>
            <pc:sldMk cId="2923344828" sldId="296"/>
            <ac:spMk id="18" creationId="{6A2539F1-3386-3324-799F-A276D8992C5D}"/>
          </ac:spMkLst>
        </pc:spChg>
        <pc:spChg chg="add del mod modVis">
          <ac:chgData name="Warren Heaps" userId="b5f776f4-d2aa-4752-837a-86796e4c6c94" providerId="ADAL" clId="{775E38DF-7547-4EB7-819D-F21CF3EEFCB6}" dt="2025-10-08T14:03:40.620" v="99568"/>
          <ac:spMkLst>
            <pc:docMk/>
            <pc:sldMk cId="2923344828" sldId="296"/>
            <ac:spMk id="19" creationId="{93BCE245-385B-7AEA-DCE3-9B34ECBB10B3}"/>
          </ac:spMkLst>
        </pc:spChg>
        <pc:spChg chg="add del mod modVis">
          <ac:chgData name="Warren Heaps" userId="b5f776f4-d2aa-4752-837a-86796e4c6c94" providerId="ADAL" clId="{775E38DF-7547-4EB7-819D-F21CF3EEFCB6}" dt="2025-10-08T14:03:46.550" v="99610"/>
          <ac:spMkLst>
            <pc:docMk/>
            <pc:sldMk cId="2923344828" sldId="296"/>
            <ac:spMk id="20" creationId="{2B488917-3F9E-53F8-3451-2D5B2749A3BA}"/>
          </ac:spMkLst>
        </pc:spChg>
        <pc:spChg chg="add del mod modVis">
          <ac:chgData name="Warren Heaps" userId="b5f776f4-d2aa-4752-837a-86796e4c6c94" providerId="ADAL" clId="{775E38DF-7547-4EB7-819D-F21CF3EEFCB6}" dt="2025-10-08T14:03:53.100" v="99659"/>
          <ac:spMkLst>
            <pc:docMk/>
            <pc:sldMk cId="2923344828" sldId="296"/>
            <ac:spMk id="21" creationId="{FE247962-D410-D2AB-5A68-D4B3389AD8FB}"/>
          </ac:spMkLst>
        </pc:spChg>
        <pc:spChg chg="add del mod modVis">
          <ac:chgData name="Warren Heaps" userId="b5f776f4-d2aa-4752-837a-86796e4c6c94" providerId="ADAL" clId="{775E38DF-7547-4EB7-819D-F21CF3EEFCB6}" dt="2025-10-08T14:03:57.726" v="99709"/>
          <ac:spMkLst>
            <pc:docMk/>
            <pc:sldMk cId="2923344828" sldId="296"/>
            <ac:spMk id="22" creationId="{38392951-ED4E-C6C0-D6E7-786CBD846B31}"/>
          </ac:spMkLst>
        </pc:spChg>
        <pc:spChg chg="add del mod modVis">
          <ac:chgData name="Warren Heaps" userId="b5f776f4-d2aa-4752-837a-86796e4c6c94" providerId="ADAL" clId="{775E38DF-7547-4EB7-819D-F21CF3EEFCB6}" dt="2025-10-08T14:04:04.160" v="99766"/>
          <ac:spMkLst>
            <pc:docMk/>
            <pc:sldMk cId="2923344828" sldId="296"/>
            <ac:spMk id="23" creationId="{3B08E435-0F3E-6427-393D-BB4F0065900F}"/>
          </ac:spMkLst>
        </pc:spChg>
        <pc:spChg chg="add del mod modVis">
          <ac:chgData name="Warren Heaps" userId="b5f776f4-d2aa-4752-837a-86796e4c6c94" providerId="ADAL" clId="{775E38DF-7547-4EB7-819D-F21CF3EEFCB6}" dt="2025-10-08T14:04:10.887" v="99831"/>
          <ac:spMkLst>
            <pc:docMk/>
            <pc:sldMk cId="2923344828" sldId="296"/>
            <ac:spMk id="24" creationId="{930D1925-7133-2664-5F30-718B903BCDE9}"/>
          </ac:spMkLst>
        </pc:spChg>
        <pc:spChg chg="add del mod modVis">
          <ac:chgData name="Warren Heaps" userId="b5f776f4-d2aa-4752-837a-86796e4c6c94" providerId="ADAL" clId="{775E38DF-7547-4EB7-819D-F21CF3EEFCB6}" dt="2025-10-08T14:04:18.277" v="99897"/>
          <ac:spMkLst>
            <pc:docMk/>
            <pc:sldMk cId="2923344828" sldId="296"/>
            <ac:spMk id="25" creationId="{95310308-9304-B713-9F55-55F9777E375D}"/>
          </ac:spMkLst>
        </pc:spChg>
        <pc:spChg chg="add del mod modVis">
          <ac:chgData name="Warren Heaps" userId="b5f776f4-d2aa-4752-837a-86796e4c6c94" providerId="ADAL" clId="{775E38DF-7547-4EB7-819D-F21CF3EEFCB6}" dt="2025-10-08T14:04:28.280" v="99988" actId="962"/>
          <ac:spMkLst>
            <pc:docMk/>
            <pc:sldMk cId="2923344828" sldId="296"/>
            <ac:spMk id="26" creationId="{6E79843A-6CF0-2123-EFEC-2ACAE69C79D0}"/>
          </ac:spMkLst>
        </pc:spChg>
        <pc:spChg chg="add del mod modVis">
          <ac:chgData name="Warren Heaps" userId="b5f776f4-d2aa-4752-837a-86796e4c6c94" providerId="ADAL" clId="{775E38DF-7547-4EB7-819D-F21CF3EEFCB6}" dt="2025-10-08T14:04:36.579" v="100064"/>
          <ac:spMkLst>
            <pc:docMk/>
            <pc:sldMk cId="2923344828" sldId="296"/>
            <ac:spMk id="27" creationId="{219A9E16-7C4B-F6E9-3BB8-F229C0908956}"/>
          </ac:spMkLst>
        </pc:spChg>
        <pc:spChg chg="add del mod modVis">
          <ac:chgData name="Warren Heaps" userId="b5f776f4-d2aa-4752-837a-86796e4c6c94" providerId="ADAL" clId="{775E38DF-7547-4EB7-819D-F21CF3EEFCB6}" dt="2025-10-08T14:05:31.537" v="100131"/>
          <ac:spMkLst>
            <pc:docMk/>
            <pc:sldMk cId="2923344828" sldId="296"/>
            <ac:spMk id="28" creationId="{87F19E61-5EB9-B0F6-87AB-ABF5C636BC12}"/>
          </ac:spMkLst>
        </pc:spChg>
        <pc:spChg chg="add del mod modVis">
          <ac:chgData name="Warren Heaps" userId="b5f776f4-d2aa-4752-837a-86796e4c6c94" providerId="ADAL" clId="{775E38DF-7547-4EB7-819D-F21CF3EEFCB6}" dt="2025-10-08T14:05:32.949" v="100198"/>
          <ac:spMkLst>
            <pc:docMk/>
            <pc:sldMk cId="2923344828" sldId="296"/>
            <ac:spMk id="29" creationId="{6DC757AC-B64D-A767-A278-79E9F433D6CA}"/>
          </ac:spMkLst>
        </pc:spChg>
        <pc:spChg chg="add del mod modVis">
          <ac:chgData name="Warren Heaps" userId="b5f776f4-d2aa-4752-837a-86796e4c6c94" providerId="ADAL" clId="{775E38DF-7547-4EB7-819D-F21CF3EEFCB6}" dt="2025-10-08T14:05:38.520" v="100265"/>
          <ac:spMkLst>
            <pc:docMk/>
            <pc:sldMk cId="2923344828" sldId="296"/>
            <ac:spMk id="30" creationId="{3D700B94-471A-923A-7718-86F752042698}"/>
          </ac:spMkLst>
        </pc:spChg>
        <pc:spChg chg="add del mod modVis">
          <ac:chgData name="Warren Heaps" userId="b5f776f4-d2aa-4752-837a-86796e4c6c94" providerId="ADAL" clId="{775E38DF-7547-4EB7-819D-F21CF3EEFCB6}" dt="2025-10-08T14:05:52.336" v="100332"/>
          <ac:spMkLst>
            <pc:docMk/>
            <pc:sldMk cId="2923344828" sldId="296"/>
            <ac:spMk id="31" creationId="{821E612F-B31B-44C7-ACE0-31E5CAC6750D}"/>
          </ac:spMkLst>
        </pc:spChg>
        <pc:spChg chg="add del mod modVis">
          <ac:chgData name="Warren Heaps" userId="b5f776f4-d2aa-4752-837a-86796e4c6c94" providerId="ADAL" clId="{775E38DF-7547-4EB7-819D-F21CF3EEFCB6}" dt="2025-10-08T14:05:59.288" v="100399"/>
          <ac:spMkLst>
            <pc:docMk/>
            <pc:sldMk cId="2923344828" sldId="296"/>
            <ac:spMk id="32" creationId="{C031DF97-2808-A32C-3ECA-4FA08B7E2AC9}"/>
          </ac:spMkLst>
        </pc:spChg>
        <pc:spChg chg="add del mod">
          <ac:chgData name="Warren Heaps" userId="b5f776f4-d2aa-4752-837a-86796e4c6c94" providerId="ADAL" clId="{775E38DF-7547-4EB7-819D-F21CF3EEFCB6}" dt="2025-10-08T14:55:26.018" v="100868"/>
          <ac:spMkLst>
            <pc:docMk/>
            <pc:sldMk cId="2923344828" sldId="296"/>
            <ac:spMk id="33" creationId="{129DF455-0224-B4ED-EF8B-6967712A037A}"/>
          </ac:spMkLst>
        </pc:spChg>
        <pc:spChg chg="add del mod modVis">
          <ac:chgData name="Warren Heaps" userId="b5f776f4-d2aa-4752-837a-86796e4c6c94" providerId="ADAL" clId="{775E38DF-7547-4EB7-819D-F21CF3EEFCB6}" dt="2025-10-08T14:06:08.550" v="100478"/>
          <ac:spMkLst>
            <pc:docMk/>
            <pc:sldMk cId="2923344828" sldId="296"/>
            <ac:spMk id="34" creationId="{8FF65AE7-4151-40CD-23AF-8AF21444637A}"/>
          </ac:spMkLst>
        </pc:spChg>
        <pc:spChg chg="add del mod modVis">
          <ac:chgData name="Warren Heaps" userId="b5f776f4-d2aa-4752-837a-86796e4c6c94" providerId="ADAL" clId="{775E38DF-7547-4EB7-819D-F21CF3EEFCB6}" dt="2025-10-08T14:06:19.510" v="100537"/>
          <ac:spMkLst>
            <pc:docMk/>
            <pc:sldMk cId="2923344828" sldId="296"/>
            <ac:spMk id="35" creationId="{A40E19E4-23BF-CF1B-0EB6-9E1BD02ACAF9}"/>
          </ac:spMkLst>
        </pc:spChg>
        <pc:spChg chg="add del mod modVis">
          <ac:chgData name="Warren Heaps" userId="b5f776f4-d2aa-4752-837a-86796e4c6c94" providerId="ADAL" clId="{775E38DF-7547-4EB7-819D-F21CF3EEFCB6}" dt="2025-10-08T14:06:33.755" v="100580"/>
          <ac:spMkLst>
            <pc:docMk/>
            <pc:sldMk cId="2923344828" sldId="296"/>
            <ac:spMk id="36" creationId="{036FB242-ADF3-1897-284D-7C7EDD5BC249}"/>
          </ac:spMkLst>
        </pc:spChg>
        <pc:spChg chg="add del mod modVis">
          <ac:chgData name="Warren Heaps" userId="b5f776f4-d2aa-4752-837a-86796e4c6c94" providerId="ADAL" clId="{775E38DF-7547-4EB7-819D-F21CF3EEFCB6}" dt="2025-10-08T14:06:39.110" v="100607"/>
          <ac:spMkLst>
            <pc:docMk/>
            <pc:sldMk cId="2923344828" sldId="296"/>
            <ac:spMk id="37" creationId="{C9BB6DD6-87EB-B433-7EFF-9B63531A20B9}"/>
          </ac:spMkLst>
        </pc:spChg>
        <pc:spChg chg="add del mod modVis">
          <ac:chgData name="Warren Heaps" userId="b5f776f4-d2aa-4752-837a-86796e4c6c94" providerId="ADAL" clId="{775E38DF-7547-4EB7-819D-F21CF3EEFCB6}" dt="2025-10-08T14:54:20.256" v="100658"/>
          <ac:spMkLst>
            <pc:docMk/>
            <pc:sldMk cId="2923344828" sldId="296"/>
            <ac:spMk id="38" creationId="{FB8E007F-957C-759E-5D39-637927A33C0A}"/>
          </ac:spMkLst>
        </pc:spChg>
        <pc:spChg chg="add del mod modVis">
          <ac:chgData name="Warren Heaps" userId="b5f776f4-d2aa-4752-837a-86796e4c6c94" providerId="ADAL" clId="{775E38DF-7547-4EB7-819D-F21CF3EEFCB6}" dt="2025-10-08T14:54:34.428" v="100727"/>
          <ac:spMkLst>
            <pc:docMk/>
            <pc:sldMk cId="2923344828" sldId="296"/>
            <ac:spMk id="39" creationId="{2819D8EA-CA87-37B9-A328-23EB00339CB5}"/>
          </ac:spMkLst>
        </pc:spChg>
        <pc:spChg chg="add del mod modVis">
          <ac:chgData name="Warren Heaps" userId="b5f776f4-d2aa-4752-837a-86796e4c6c94" providerId="ADAL" clId="{775E38DF-7547-4EB7-819D-F21CF3EEFCB6}" dt="2025-10-08T14:54:40.882" v="100755"/>
          <ac:spMkLst>
            <pc:docMk/>
            <pc:sldMk cId="2923344828" sldId="296"/>
            <ac:spMk id="40" creationId="{1C6344E3-8107-CD37-8BBB-F0FC479CDCFD}"/>
          </ac:spMkLst>
        </pc:spChg>
        <pc:spChg chg="add del mod modVis">
          <ac:chgData name="Warren Heaps" userId="b5f776f4-d2aa-4752-837a-86796e4c6c94" providerId="ADAL" clId="{775E38DF-7547-4EB7-819D-F21CF3EEFCB6}" dt="2025-10-08T14:54:46.247" v="100782"/>
          <ac:spMkLst>
            <pc:docMk/>
            <pc:sldMk cId="2923344828" sldId="296"/>
            <ac:spMk id="41" creationId="{AE750106-913B-2EEE-FA76-EECB96153F91}"/>
          </ac:spMkLst>
        </pc:spChg>
        <pc:spChg chg="add del mod modVis">
          <ac:chgData name="Warren Heaps" userId="b5f776f4-d2aa-4752-837a-86796e4c6c94" providerId="ADAL" clId="{775E38DF-7547-4EB7-819D-F21CF3EEFCB6}" dt="2025-10-08T14:54:50.760" v="100809"/>
          <ac:spMkLst>
            <pc:docMk/>
            <pc:sldMk cId="2923344828" sldId="296"/>
            <ac:spMk id="42" creationId="{5E1DF5F3-0812-2B80-2C31-DEE895BB5A85}"/>
          </ac:spMkLst>
        </pc:spChg>
        <pc:spChg chg="add del mod modVis">
          <ac:chgData name="Warren Heaps" userId="b5f776f4-d2aa-4752-837a-86796e4c6c94" providerId="ADAL" clId="{775E38DF-7547-4EB7-819D-F21CF3EEFCB6}" dt="2025-10-08T14:54:51.982" v="100836"/>
          <ac:spMkLst>
            <pc:docMk/>
            <pc:sldMk cId="2923344828" sldId="296"/>
            <ac:spMk id="43" creationId="{71397C59-3DBD-59C7-F0EA-514D68568866}"/>
          </ac:spMkLst>
        </pc:spChg>
        <pc:spChg chg="add del mod modVis">
          <ac:chgData name="Warren Heaps" userId="b5f776f4-d2aa-4752-837a-86796e4c6c94" providerId="ADAL" clId="{775E38DF-7547-4EB7-819D-F21CF3EEFCB6}" dt="2025-10-08T14:54:59.339" v="100863"/>
          <ac:spMkLst>
            <pc:docMk/>
            <pc:sldMk cId="2923344828" sldId="296"/>
            <ac:spMk id="44" creationId="{685D33FA-36B2-E4B0-32A6-F3ABADFE2914}"/>
          </ac:spMkLst>
        </pc:spChg>
        <pc:spChg chg="add mod ord">
          <ac:chgData name="Warren Heaps" userId="b5f776f4-d2aa-4752-837a-86796e4c6c94" providerId="ADAL" clId="{775E38DF-7547-4EB7-819D-F21CF3EEFCB6}" dt="2025-10-08T14:59:03.254" v="101656" actId="207"/>
          <ac:spMkLst>
            <pc:docMk/>
            <pc:sldMk cId="2923344828" sldId="296"/>
            <ac:spMk id="45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4:56:07.167" v="100971"/>
          <ac:spMkLst>
            <pc:docMk/>
            <pc:sldMk cId="2923344828" sldId="296"/>
            <ac:spMk id="46" creationId="{E7061EF7-4617-BB9A-E557-1C9EE59C67DE}"/>
          </ac:spMkLst>
        </pc:spChg>
        <pc:spChg chg="add mod ord">
          <ac:chgData name="Warren Heaps" userId="b5f776f4-d2aa-4752-837a-86796e4c6c94" providerId="ADAL" clId="{775E38DF-7547-4EB7-819D-F21CF3EEFCB6}" dt="2025-10-08T14:56:55.173" v="101206"/>
          <ac:spMkLst>
            <pc:docMk/>
            <pc:sldMk cId="2923344828" sldId="296"/>
            <ac:spMk id="47" creationId="{F8F4505B-782F-B0A6-1813-D2851CDD3D53}"/>
          </ac:spMkLst>
        </pc:spChg>
        <pc:spChg chg="add del mod modVis">
          <ac:chgData name="Warren Heaps" userId="b5f776f4-d2aa-4752-837a-86796e4c6c94" providerId="ADAL" clId="{775E38DF-7547-4EB7-819D-F21CF3EEFCB6}" dt="2025-10-08T14:56:19.245" v="101019"/>
          <ac:spMkLst>
            <pc:docMk/>
            <pc:sldMk cId="2923344828" sldId="296"/>
            <ac:spMk id="48" creationId="{7D01BFF0-68C0-DB56-8EEF-31C146C25D8D}"/>
          </ac:spMkLst>
        </pc:spChg>
        <pc:spChg chg="add del mod modVis">
          <ac:chgData name="Warren Heaps" userId="b5f776f4-d2aa-4752-837a-86796e4c6c94" providerId="ADAL" clId="{775E38DF-7547-4EB7-819D-F21CF3EEFCB6}" dt="2025-10-08T14:56:44.920" v="101063"/>
          <ac:spMkLst>
            <pc:docMk/>
            <pc:sldMk cId="2923344828" sldId="296"/>
            <ac:spMk id="49" creationId="{4020A0B9-AC57-4FCD-947F-FCA1785BFB7E}"/>
          </ac:spMkLst>
        </pc:spChg>
        <pc:spChg chg="add del mod">
          <ac:chgData name="Warren Heaps" userId="b5f776f4-d2aa-4752-837a-86796e4c6c94" providerId="ADAL" clId="{775E38DF-7547-4EB7-819D-F21CF3EEFCB6}" dt="2025-10-08T14:57:36.123" v="101384"/>
          <ac:spMkLst>
            <pc:docMk/>
            <pc:sldMk cId="2923344828" sldId="296"/>
            <ac:spMk id="50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4:56:55.187" v="101210"/>
          <ac:spMkLst>
            <pc:docMk/>
            <pc:sldMk cId="2923344828" sldId="296"/>
            <ac:spMk id="51" creationId="{66E5B61D-70DA-F56F-2410-08ABB857D9E2}"/>
          </ac:spMkLst>
        </pc:spChg>
        <pc:spChg chg="add del mod">
          <ac:chgData name="Warren Heaps" userId="b5f776f4-d2aa-4752-837a-86796e4c6c94" providerId="ADAL" clId="{775E38DF-7547-4EB7-819D-F21CF3EEFCB6}" dt="2025-10-08T14:57:36.122" v="101383"/>
          <ac:spMkLst>
            <pc:docMk/>
            <pc:sldMk cId="2923344828" sldId="296"/>
            <ac:spMk id="52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4:57:15.602" v="101253"/>
          <ac:spMkLst>
            <pc:docMk/>
            <pc:sldMk cId="2923344828" sldId="296"/>
            <ac:spMk id="53" creationId="{F543CC7D-5323-4DE8-B29E-B3946EF29CFC}"/>
          </ac:spMkLst>
        </pc:spChg>
        <pc:spChg chg="add del mod modVis">
          <ac:chgData name="Warren Heaps" userId="b5f776f4-d2aa-4752-837a-86796e4c6c94" providerId="ADAL" clId="{775E38DF-7547-4EB7-819D-F21CF3EEFCB6}" dt="2025-10-08T14:57:16.227" v="101278"/>
          <ac:spMkLst>
            <pc:docMk/>
            <pc:sldMk cId="2923344828" sldId="296"/>
            <ac:spMk id="54" creationId="{C1FDFF51-1B27-B8F7-81D0-0608457C5B3C}"/>
          </ac:spMkLst>
        </pc:spChg>
        <pc:spChg chg="add del mod modVis">
          <ac:chgData name="Warren Heaps" userId="b5f776f4-d2aa-4752-837a-86796e4c6c94" providerId="ADAL" clId="{775E38DF-7547-4EB7-819D-F21CF3EEFCB6}" dt="2025-10-08T14:57:19.973" v="101303"/>
          <ac:spMkLst>
            <pc:docMk/>
            <pc:sldMk cId="2923344828" sldId="296"/>
            <ac:spMk id="55" creationId="{AAEEB602-035D-CBC7-7592-92B4F909AAE2}"/>
          </ac:spMkLst>
        </pc:spChg>
        <pc:spChg chg="add del mod modVis">
          <ac:chgData name="Warren Heaps" userId="b5f776f4-d2aa-4752-837a-86796e4c6c94" providerId="ADAL" clId="{775E38DF-7547-4EB7-819D-F21CF3EEFCB6}" dt="2025-10-08T14:57:20.666" v="101328"/>
          <ac:spMkLst>
            <pc:docMk/>
            <pc:sldMk cId="2923344828" sldId="296"/>
            <ac:spMk id="56" creationId="{9F66A3A3-928E-D80D-F369-42FA82E22632}"/>
          </ac:spMkLst>
        </pc:spChg>
        <pc:spChg chg="add del mod modVis">
          <ac:chgData name="Warren Heaps" userId="b5f776f4-d2aa-4752-837a-86796e4c6c94" providerId="ADAL" clId="{775E38DF-7547-4EB7-819D-F21CF3EEFCB6}" dt="2025-10-08T14:57:21.523" v="101354"/>
          <ac:spMkLst>
            <pc:docMk/>
            <pc:sldMk cId="2923344828" sldId="296"/>
            <ac:spMk id="57" creationId="{8E733C89-786E-F276-DF9E-D7FE037AEC98}"/>
          </ac:spMkLst>
        </pc:spChg>
        <pc:spChg chg="add del mod modVis">
          <ac:chgData name="Warren Heaps" userId="b5f776f4-d2aa-4752-837a-86796e4c6c94" providerId="ADAL" clId="{775E38DF-7547-4EB7-819D-F21CF3EEFCB6}" dt="2025-10-08T14:57:26.649" v="101380"/>
          <ac:spMkLst>
            <pc:docMk/>
            <pc:sldMk cId="2923344828" sldId="296"/>
            <ac:spMk id="58" creationId="{AE90C775-291F-06CC-AD53-612A0AF667F0}"/>
          </ac:spMkLst>
        </pc:spChg>
        <pc:spChg chg="add mod">
          <ac:chgData name="Warren Heaps" userId="b5f776f4-d2aa-4752-837a-86796e4c6c94" providerId="ADAL" clId="{775E38DF-7547-4EB7-819D-F21CF3EEFCB6}" dt="2025-10-08T14:59:03.269" v="101660" actId="207"/>
          <ac:spMkLst>
            <pc:docMk/>
            <pc:sldMk cId="2923344828" sldId="296"/>
            <ac:spMk id="59" creationId="{81439CA8-7C37-6DCD-E943-FBA9AE9696EF}"/>
          </ac:spMkLst>
        </pc:spChg>
        <pc:spChg chg="add mod">
          <ac:chgData name="Warren Heaps" userId="b5f776f4-d2aa-4752-837a-86796e4c6c94" providerId="ADAL" clId="{775E38DF-7547-4EB7-819D-F21CF3EEFCB6}" dt="2025-10-08T14:58:35.308" v="101600" actId="948"/>
          <ac:spMkLst>
            <pc:docMk/>
            <pc:sldMk cId="2923344828" sldId="296"/>
            <ac:spMk id="60" creationId="{DDFC6CBE-0469-931B-A218-EE82E6B919AD}"/>
          </ac:spMkLst>
        </pc:spChg>
        <pc:spChg chg="add del mod modVis">
          <ac:chgData name="Warren Heaps" userId="b5f776f4-d2aa-4752-837a-86796e4c6c94" providerId="ADAL" clId="{775E38DF-7547-4EB7-819D-F21CF3EEFCB6}" dt="2025-10-08T14:57:45.786" v="101437"/>
          <ac:spMkLst>
            <pc:docMk/>
            <pc:sldMk cId="2923344828" sldId="296"/>
            <ac:spMk id="61" creationId="{E30C70D1-B477-9FC7-4A49-697859DA10D3}"/>
          </ac:spMkLst>
        </pc:spChg>
        <pc:spChg chg="add del mod modVis">
          <ac:chgData name="Warren Heaps" userId="b5f776f4-d2aa-4752-837a-86796e4c6c94" providerId="ADAL" clId="{775E38DF-7547-4EB7-819D-F21CF3EEFCB6}" dt="2025-10-08T14:57:56.207" v="101485"/>
          <ac:spMkLst>
            <pc:docMk/>
            <pc:sldMk cId="2923344828" sldId="296"/>
            <ac:spMk id="62" creationId="{69AA8B75-27CA-1275-7CAB-74D0E718E07D}"/>
          </ac:spMkLst>
        </pc:spChg>
        <pc:spChg chg="add del mod modVis">
          <ac:chgData name="Warren Heaps" userId="b5f776f4-d2aa-4752-837a-86796e4c6c94" providerId="ADAL" clId="{775E38DF-7547-4EB7-819D-F21CF3EEFCB6}" dt="2025-10-08T14:57:57.967" v="101513"/>
          <ac:spMkLst>
            <pc:docMk/>
            <pc:sldMk cId="2923344828" sldId="296"/>
            <ac:spMk id="63" creationId="{874E69C4-C8C7-9244-005E-64672C9F5471}"/>
          </ac:spMkLst>
        </pc:spChg>
        <pc:spChg chg="add mod">
          <ac:chgData name="Warren Heaps" userId="b5f776f4-d2aa-4752-837a-86796e4c6c94" providerId="ADAL" clId="{775E38DF-7547-4EB7-819D-F21CF3EEFCB6}" dt="2025-10-08T14:59:32.590" v="101824" actId="948"/>
          <ac:spMkLst>
            <pc:docMk/>
            <pc:sldMk cId="2923344828" sldId="296"/>
            <ac:spMk id="64" creationId="{72757EB2-67AA-8C96-4699-DC471535DF89}"/>
          </ac:spMkLst>
        </pc:spChg>
        <pc:spChg chg="add mod">
          <ac:chgData name="Warren Heaps" userId="b5f776f4-d2aa-4752-837a-86796e4c6c94" providerId="ADAL" clId="{775E38DF-7547-4EB7-819D-F21CF3EEFCB6}" dt="2025-10-08T14:58:50.729" v="101648" actId="299"/>
          <ac:spMkLst>
            <pc:docMk/>
            <pc:sldMk cId="2923344828" sldId="296"/>
            <ac:spMk id="65" creationId="{2B7A1984-D12A-3B1C-1804-C86981233C27}"/>
          </ac:spMkLst>
        </pc:spChg>
        <pc:spChg chg="add del mod modVis">
          <ac:chgData name="Warren Heaps" userId="b5f776f4-d2aa-4752-837a-86796e4c6c94" providerId="ADAL" clId="{775E38DF-7547-4EB7-819D-F21CF3EEFCB6}" dt="2025-10-08T14:58:06.516" v="101566"/>
          <ac:spMkLst>
            <pc:docMk/>
            <pc:sldMk cId="2923344828" sldId="296"/>
            <ac:spMk id="66" creationId="{46AF4F2D-E783-E5AE-51A3-A153A3CE869C}"/>
          </ac:spMkLst>
        </pc:spChg>
        <pc:spChg chg="add del mod modVis">
          <ac:chgData name="Warren Heaps" userId="b5f776f4-d2aa-4752-837a-86796e4c6c94" providerId="ADAL" clId="{775E38DF-7547-4EB7-819D-F21CF3EEFCB6}" dt="2025-10-08T14:58:24.092" v="101596"/>
          <ac:spMkLst>
            <pc:docMk/>
            <pc:sldMk cId="2923344828" sldId="296"/>
            <ac:spMk id="67" creationId="{D719C75C-6714-EEAA-2042-59501FAC4C8F}"/>
          </ac:spMkLst>
        </pc:spChg>
        <pc:spChg chg="add del mod modVis">
          <ac:chgData name="Warren Heaps" userId="b5f776f4-d2aa-4752-837a-86796e4c6c94" providerId="ADAL" clId="{775E38DF-7547-4EB7-819D-F21CF3EEFCB6}" dt="2025-10-08T14:58:35.454" v="101622"/>
          <ac:spMkLst>
            <pc:docMk/>
            <pc:sldMk cId="2923344828" sldId="296"/>
            <ac:spMk id="68" creationId="{7C1FD78E-F862-A9A6-665F-11424CB76F95}"/>
          </ac:spMkLst>
        </pc:spChg>
        <pc:spChg chg="add del mod modVis">
          <ac:chgData name="Warren Heaps" userId="b5f776f4-d2aa-4752-837a-86796e4c6c94" providerId="ADAL" clId="{775E38DF-7547-4EB7-819D-F21CF3EEFCB6}" dt="2025-10-08T14:58:50.735" v="101650"/>
          <ac:spMkLst>
            <pc:docMk/>
            <pc:sldMk cId="2923344828" sldId="296"/>
            <ac:spMk id="69" creationId="{542E3709-1743-32D0-85C6-7250D6D2AACB}"/>
          </ac:spMkLst>
        </pc:spChg>
        <pc:spChg chg="add del mod modVis">
          <ac:chgData name="Warren Heaps" userId="b5f776f4-d2aa-4752-837a-86796e4c6c94" providerId="ADAL" clId="{775E38DF-7547-4EB7-819D-F21CF3EEFCB6}" dt="2025-10-08T14:59:21.406" v="101699"/>
          <ac:spMkLst>
            <pc:docMk/>
            <pc:sldMk cId="2923344828" sldId="296"/>
            <ac:spMk id="70" creationId="{060FDD62-3436-55D1-DDD6-6B7C016F4661}"/>
          </ac:spMkLst>
        </pc:spChg>
        <pc:spChg chg="add del mod modVis">
          <ac:chgData name="Warren Heaps" userId="b5f776f4-d2aa-4752-837a-86796e4c6c94" providerId="ADAL" clId="{775E38DF-7547-4EB7-819D-F21CF3EEFCB6}" dt="2025-10-08T14:59:22.213" v="101725"/>
          <ac:spMkLst>
            <pc:docMk/>
            <pc:sldMk cId="2923344828" sldId="296"/>
            <ac:spMk id="71" creationId="{9CAA7E0F-4B52-DEE3-0724-2C5222F79D53}"/>
          </ac:spMkLst>
        </pc:spChg>
        <pc:spChg chg="add del mod modVis">
          <ac:chgData name="Warren Heaps" userId="b5f776f4-d2aa-4752-837a-86796e4c6c94" providerId="ADAL" clId="{775E38DF-7547-4EB7-819D-F21CF3EEFCB6}" dt="2025-10-08T14:59:23.336" v="101752"/>
          <ac:spMkLst>
            <pc:docMk/>
            <pc:sldMk cId="2923344828" sldId="296"/>
            <ac:spMk id="72" creationId="{40D8101C-38D7-B382-EB1A-1945ACCB29FD}"/>
          </ac:spMkLst>
        </pc:spChg>
        <pc:spChg chg="add del mod modVis">
          <ac:chgData name="Warren Heaps" userId="b5f776f4-d2aa-4752-837a-86796e4c6c94" providerId="ADAL" clId="{775E38DF-7547-4EB7-819D-F21CF3EEFCB6}" dt="2025-10-08T14:59:24.511" v="101782"/>
          <ac:spMkLst>
            <pc:docMk/>
            <pc:sldMk cId="2923344828" sldId="296"/>
            <ac:spMk id="73" creationId="{9A7B637B-877D-2768-68AF-BF20A6DF3D24}"/>
          </ac:spMkLst>
        </pc:spChg>
        <pc:spChg chg="add del mod modVis">
          <ac:chgData name="Warren Heaps" userId="b5f776f4-d2aa-4752-837a-86796e4c6c94" providerId="ADAL" clId="{775E38DF-7547-4EB7-819D-F21CF3EEFCB6}" dt="2025-10-08T14:59:26.499" v="101814"/>
          <ac:spMkLst>
            <pc:docMk/>
            <pc:sldMk cId="2923344828" sldId="296"/>
            <ac:spMk id="74" creationId="{555D8DAA-93F0-EA91-E1D2-45D604265159}"/>
          </ac:spMkLst>
        </pc:spChg>
        <pc:spChg chg="add del mod modVis">
          <ac:chgData name="Warren Heaps" userId="b5f776f4-d2aa-4752-837a-86796e4c6c94" providerId="ADAL" clId="{775E38DF-7547-4EB7-819D-F21CF3EEFCB6}" dt="2025-10-08T14:59:32.692" v="101846"/>
          <ac:spMkLst>
            <pc:docMk/>
            <pc:sldMk cId="2923344828" sldId="296"/>
            <ac:spMk id="75" creationId="{7BFB42BF-4227-EE8C-ADB9-5E8B6DC4963C}"/>
          </ac:spMkLst>
        </pc:spChg>
        <pc:graphicFrameChg chg="add mod ord modVis">
          <ac:chgData name="Warren Heaps" userId="b5f776f4-d2aa-4752-837a-86796e4c6c94" providerId="ADAL" clId="{775E38DF-7547-4EB7-819D-F21CF3EEFCB6}" dt="2025-10-08T14:59:32.696" v="101848"/>
          <ac:graphicFrameMkLst>
            <pc:docMk/>
            <pc:sldMk cId="2923344828" sldId="296"/>
            <ac:graphicFrameMk id="4" creationId="{D73C594D-F329-E32C-C29B-27D5185CB345}"/>
          </ac:graphicFrameMkLst>
        </pc:graphicFrameChg>
      </pc:sldChg>
      <pc:sldChg chg="addSp delSp modSp del mod modClrScheme chgLayout modNotes">
        <pc:chgData name="Warren Heaps" userId="b5f776f4-d2aa-4752-837a-86796e4c6c94" providerId="ADAL" clId="{775E38DF-7547-4EB7-819D-F21CF3EEFCB6}" dt="2025-10-08T03:23:33.384" v="84577" actId="47"/>
        <pc:sldMkLst>
          <pc:docMk/>
          <pc:sldMk cId="3358722896" sldId="297"/>
        </pc:sldMkLst>
      </pc:sldChg>
      <pc:sldChg chg="addSp delSp modSp del mod modClrScheme chgLayout modNotes">
        <pc:chgData name="Warren Heaps" userId="b5f776f4-d2aa-4752-837a-86796e4c6c94" providerId="ADAL" clId="{775E38DF-7547-4EB7-819D-F21CF3EEFCB6}" dt="2025-10-08T03:23:30.183" v="84576" actId="47"/>
        <pc:sldMkLst>
          <pc:docMk/>
          <pc:sldMk cId="2639205828" sldId="298"/>
        </pc:sldMkLst>
      </pc:sldChg>
      <pc:sldChg chg="addSp delSp modSp del mod modClrScheme chgLayout modNotes">
        <pc:chgData name="Warren Heaps" userId="b5f776f4-d2aa-4752-837a-86796e4c6c94" providerId="ADAL" clId="{775E38DF-7547-4EB7-819D-F21CF3EEFCB6}" dt="2025-10-08T03:23:30.183" v="84576" actId="47"/>
        <pc:sldMkLst>
          <pc:docMk/>
          <pc:sldMk cId="1214025054" sldId="299"/>
        </pc:sldMkLst>
      </pc:sldChg>
      <pc:sldChg chg="addSp delSp modSp del mod modClrScheme chgLayout modNotes">
        <pc:chgData name="Warren Heaps" userId="b5f776f4-d2aa-4752-837a-86796e4c6c94" providerId="ADAL" clId="{775E38DF-7547-4EB7-819D-F21CF3EEFCB6}" dt="2025-10-08T03:23:30.183" v="84576" actId="47"/>
        <pc:sldMkLst>
          <pc:docMk/>
          <pc:sldMk cId="2023106476" sldId="300"/>
        </pc:sldMkLst>
      </pc:sldChg>
      <pc:sldChg chg="addSp delSp modSp del mod modClrScheme chgLayout modNotes">
        <pc:chgData name="Warren Heaps" userId="b5f776f4-d2aa-4752-837a-86796e4c6c94" providerId="ADAL" clId="{775E38DF-7547-4EB7-819D-F21CF3EEFCB6}" dt="2025-10-08T03:23:30.183" v="84576" actId="47"/>
        <pc:sldMkLst>
          <pc:docMk/>
          <pc:sldMk cId="1782757870" sldId="301"/>
        </pc:sldMkLst>
      </pc:sldChg>
      <pc:sldChg chg="addSp delSp modSp mod modClrScheme chgLayout">
        <pc:chgData name="Warren Heaps" userId="b5f776f4-d2aa-4752-837a-86796e4c6c94" providerId="ADAL" clId="{775E38DF-7547-4EB7-819D-F21CF3EEFCB6}" dt="2025-10-08T15:24:17.039" v="104790"/>
        <pc:sldMkLst>
          <pc:docMk/>
          <pc:sldMk cId="2464156483" sldId="303"/>
        </pc:sldMkLst>
        <pc:spChg chg="add del mod modVis">
          <ac:chgData name="Warren Heaps" userId="b5f776f4-d2aa-4752-837a-86796e4c6c94" providerId="ADAL" clId="{775E38DF-7547-4EB7-819D-F21CF3EEFCB6}" dt="2025-10-08T15:19:19.119" v="104306"/>
          <ac:spMkLst>
            <pc:docMk/>
            <pc:sldMk cId="2464156483" sldId="303"/>
            <ac:spMk id="2" creationId="{7D42A2EF-0ACB-0BC7-E84F-9CD5FB727068}"/>
          </ac:spMkLst>
        </pc:spChg>
        <pc:spChg chg="mod ord">
          <ac:chgData name="Warren Heaps" userId="b5f776f4-d2aa-4752-837a-86796e4c6c94" providerId="ADAL" clId="{775E38DF-7547-4EB7-819D-F21CF3EEFCB6}" dt="2025-10-08T15:19:18.483" v="104217" actId="948"/>
          <ac:spMkLst>
            <pc:docMk/>
            <pc:sldMk cId="2464156483" sldId="303"/>
            <ac:spMk id="3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5:19:30.318" v="104339"/>
          <ac:spMkLst>
            <pc:docMk/>
            <pc:sldMk cId="2464156483" sldId="303"/>
            <ac:spMk id="4" creationId="{77B29C7D-DCF2-93B3-39D4-3CDC7FADF0C0}"/>
          </ac:spMkLst>
        </pc:spChg>
        <pc:spChg chg="add del mod modVis">
          <ac:chgData name="Warren Heaps" userId="b5f776f4-d2aa-4752-837a-86796e4c6c94" providerId="ADAL" clId="{775E38DF-7547-4EB7-819D-F21CF3EEFCB6}" dt="2025-10-08T15:24:14.327" v="104736"/>
          <ac:spMkLst>
            <pc:docMk/>
            <pc:sldMk cId="2464156483" sldId="303"/>
            <ac:spMk id="6" creationId="{7650F602-BBFF-EC94-673E-03D4B23E1238}"/>
          </ac:spMkLst>
        </pc:spChg>
        <pc:spChg chg="add del mod modVis">
          <ac:chgData name="Warren Heaps" userId="b5f776f4-d2aa-4752-837a-86796e4c6c94" providerId="ADAL" clId="{775E38DF-7547-4EB7-819D-F21CF3EEFCB6}" dt="2025-10-08T15:24:17.035" v="104788"/>
          <ac:spMkLst>
            <pc:docMk/>
            <pc:sldMk cId="2464156483" sldId="303"/>
            <ac:spMk id="7" creationId="{4F6F5F26-B0D1-92CF-5FAE-7F9C645940D1}"/>
          </ac:spMkLst>
        </pc:spChg>
        <pc:spChg chg="add mod">
          <ac:chgData name="Warren Heaps" userId="b5f776f4-d2aa-4752-837a-86796e4c6c94" providerId="ADAL" clId="{775E38DF-7547-4EB7-819D-F21CF3EEFCB6}" dt="2025-10-08T15:19:18.516" v="104225"/>
          <ac:spMkLst>
            <pc:docMk/>
            <pc:sldMk cId="2464156483" sldId="303"/>
            <ac:spMk id="21" creationId="{885371E8-7632-3C4A-ADA5-1A7187B6BE78}"/>
          </ac:spMkLst>
        </pc:spChg>
        <pc:spChg chg="add del mod">
          <ac:chgData name="Warren Heaps" userId="b5f776f4-d2aa-4752-837a-86796e4c6c94" providerId="ADAL" clId="{775E38DF-7547-4EB7-819D-F21CF3EEFCB6}" dt="2025-10-08T15:19:43.415" v="104367"/>
          <ac:spMkLst>
            <pc:docMk/>
            <pc:sldMk cId="2464156483" sldId="303"/>
            <ac:spMk id="28" creationId="{76D1C467-8633-7AEA-8110-0B8A4C9C4A5C}"/>
          </ac:spMkLst>
        </pc:spChg>
        <pc:spChg chg="add mod">
          <ac:chgData name="Warren Heaps" userId="b5f776f4-d2aa-4752-837a-86796e4c6c94" providerId="ADAL" clId="{775E38DF-7547-4EB7-819D-F21CF3EEFCB6}" dt="2025-10-08T15:24:17.020" v="104784"/>
          <ac:spMkLst>
            <pc:docMk/>
            <pc:sldMk cId="2464156483" sldId="303"/>
            <ac:spMk id="39" creationId="{776BFA7D-9ABC-DB3A-12D2-6888D905C813}"/>
          </ac:spMkLst>
        </pc:spChg>
        <pc:spChg chg="add del mod">
          <ac:chgData name="Warren Heaps" userId="b5f776f4-d2aa-4752-837a-86796e4c6c94" providerId="ADAL" clId="{775E38DF-7547-4EB7-819D-F21CF3EEFCB6}" dt="2025-10-08T15:19:34.473" v="104342"/>
          <ac:spMkLst>
            <pc:docMk/>
            <pc:sldMk cId="2464156483" sldId="303"/>
            <ac:spMk id="40" creationId="{18DBBC70-C854-2FDF-2ACA-3905BA785DE2}"/>
          </ac:spMkLst>
        </pc:spChg>
        <pc:spChg chg="add mod">
          <ac:chgData name="Warren Heaps" userId="b5f776f4-d2aa-4752-837a-86796e4c6c94" providerId="ADAL" clId="{775E38DF-7547-4EB7-819D-F21CF3EEFCB6}" dt="2025-10-08T15:24:17.031" v="104786"/>
          <ac:spMkLst>
            <pc:docMk/>
            <pc:sldMk cId="2464156483" sldId="303"/>
            <ac:spMk id="71" creationId="{A67D21A2-A14A-2CE2-C263-741C8ABE5AFF}"/>
          </ac:spMkLst>
        </pc:spChg>
        <pc:spChg chg="add del mod">
          <ac:chgData name="Warren Heaps" userId="b5f776f4-d2aa-4752-837a-86796e4c6c94" providerId="ADAL" clId="{775E38DF-7547-4EB7-819D-F21CF3EEFCB6}" dt="2025-10-08T15:19:38.624" v="104360"/>
          <ac:spMkLst>
            <pc:docMk/>
            <pc:sldMk cId="2464156483" sldId="303"/>
            <ac:spMk id="72" creationId="{630EAB30-7E08-E2EF-20A9-AC3B41F2DC4B}"/>
          </ac:spMkLst>
        </pc:spChg>
        <pc:graphicFrameChg chg="add mod ord modVis">
          <ac:chgData name="Warren Heaps" userId="b5f776f4-d2aa-4752-837a-86796e4c6c94" providerId="ADAL" clId="{775E38DF-7547-4EB7-819D-F21CF3EEFCB6}" dt="2025-10-08T15:24:17.039" v="104790"/>
          <ac:graphicFrameMkLst>
            <pc:docMk/>
            <pc:sldMk cId="2464156483" sldId="303"/>
            <ac:graphicFrameMk id="5" creationId="{6C53ECFE-57D9-FC9C-C411-417188E3BF37}"/>
          </ac:graphicFrameMkLst>
        </pc:graphicFrameChg>
      </pc:sldChg>
      <pc:sldChg chg="addSp delSp modSp del mod modClrScheme chgLayout">
        <pc:chgData name="Warren Heaps" userId="b5f776f4-d2aa-4752-837a-86796e4c6c94" providerId="ADAL" clId="{775E38DF-7547-4EB7-819D-F21CF3EEFCB6}" dt="2025-10-07T03:45:51.467" v="62864" actId="47"/>
        <pc:sldMkLst>
          <pc:docMk/>
          <pc:sldMk cId="1622376482" sldId="304"/>
        </pc:sldMkLst>
      </pc:sldChg>
      <pc:sldChg chg="addSp delSp modSp del mod modClrScheme chgLayout">
        <pc:chgData name="Warren Heaps" userId="b5f776f4-d2aa-4752-837a-86796e4c6c94" providerId="ADAL" clId="{775E38DF-7547-4EB7-819D-F21CF3EEFCB6}" dt="2025-10-07T03:51:39.836" v="64048" actId="47"/>
        <pc:sldMkLst>
          <pc:docMk/>
          <pc:sldMk cId="510055368" sldId="305"/>
        </pc:sldMkLst>
      </pc:sldChg>
      <pc:sldChg chg="addSp delSp modSp mod ord modClrScheme chgLayout">
        <pc:chgData name="Warren Heaps" userId="b5f776f4-d2aa-4752-837a-86796e4c6c94" providerId="ADAL" clId="{775E38DF-7547-4EB7-819D-F21CF3EEFCB6}" dt="2025-10-08T01:52:07.786" v="81591"/>
        <pc:sldMkLst>
          <pc:docMk/>
          <pc:sldMk cId="2571166767" sldId="306"/>
        </pc:sldMkLst>
        <pc:spChg chg="mod ord">
          <ac:chgData name="Warren Heaps" userId="b5f776f4-d2aa-4752-837a-86796e4c6c94" providerId="ADAL" clId="{775E38DF-7547-4EB7-819D-F21CF3EEFCB6}" dt="2025-10-07T03:56:51.758" v="65460" actId="948"/>
          <ac:spMkLst>
            <pc:docMk/>
            <pc:sldMk cId="2571166767" sldId="306"/>
            <ac:spMk id="5" creationId="{00000000-0000-0000-0000-000000000000}"/>
          </ac:spMkLst>
        </pc:spChg>
        <pc:graphicFrameChg chg="add mod ord modVis">
          <ac:chgData name="Warren Heaps" userId="b5f776f4-d2aa-4752-837a-86796e4c6c94" providerId="ADAL" clId="{775E38DF-7547-4EB7-819D-F21CF3EEFCB6}" dt="2025-10-07T03:56:51.823" v="65484"/>
          <ac:graphicFrameMkLst>
            <pc:docMk/>
            <pc:sldMk cId="2571166767" sldId="306"/>
            <ac:graphicFrameMk id="3" creationId="{1D6667AE-5237-12EF-FD66-B1A0D21B76B7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12:57:48.574" v="84821" actId="1076"/>
        <pc:sldMkLst>
          <pc:docMk/>
          <pc:sldMk cId="3471413529" sldId="307"/>
        </pc:sldMkLst>
        <pc:spChg chg="mod ord">
          <ac:chgData name="Warren Heaps" userId="b5f776f4-d2aa-4752-837a-86796e4c6c94" providerId="ADAL" clId="{775E38DF-7547-4EB7-819D-F21CF3EEFCB6}" dt="2025-10-08T12:56:40.867" v="84794" actId="948"/>
          <ac:spMkLst>
            <pc:docMk/>
            <pc:sldMk cId="3471413529" sldId="307"/>
            <ac:spMk id="2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2:56:40.944" v="84815"/>
          <ac:spMkLst>
            <pc:docMk/>
            <pc:sldMk cId="3471413529" sldId="307"/>
            <ac:spMk id="4" creationId="{0BCCFB3A-C5D6-2F40-C7E9-46675426B79A}"/>
          </ac:spMkLst>
        </pc:spChg>
        <pc:graphicFrameChg chg="mod">
          <ac:chgData name="Warren Heaps" userId="b5f776f4-d2aa-4752-837a-86796e4c6c94" providerId="ADAL" clId="{775E38DF-7547-4EB7-819D-F21CF3EEFCB6}" dt="2025-10-08T12:57:48.574" v="84821" actId="1076"/>
          <ac:graphicFrameMkLst>
            <pc:docMk/>
            <pc:sldMk cId="3471413529" sldId="307"/>
            <ac:graphicFrameMk id="3" creationId="{00000000-0000-0000-0000-000000000000}"/>
          </ac:graphicFrameMkLst>
        </pc:graphicFrameChg>
        <pc:graphicFrameChg chg="add mod ord modVis">
          <ac:chgData name="Warren Heaps" userId="b5f776f4-d2aa-4752-837a-86796e4c6c94" providerId="ADAL" clId="{775E38DF-7547-4EB7-819D-F21CF3EEFCB6}" dt="2025-10-08T12:56:40.947" v="84817"/>
          <ac:graphicFrameMkLst>
            <pc:docMk/>
            <pc:sldMk cId="3471413529" sldId="307"/>
            <ac:graphicFrameMk id="5" creationId="{50679F8B-FD2A-84F0-5281-D8383A3323F8}"/>
          </ac:graphicFrameMkLst>
        </pc:graphicFrameChg>
      </pc:sldChg>
      <pc:sldChg chg="addSp delSp modSp del mod modClrScheme chgLayout">
        <pc:chgData name="Warren Heaps" userId="b5f776f4-d2aa-4752-837a-86796e4c6c94" providerId="ADAL" clId="{775E38DF-7547-4EB7-819D-F21CF3EEFCB6}" dt="2025-10-08T12:58:05.688" v="84870" actId="47"/>
        <pc:sldMkLst>
          <pc:docMk/>
          <pc:sldMk cId="1422998991" sldId="308"/>
        </pc:sldMkLst>
        <pc:spChg chg="mod ord">
          <ac:chgData name="Warren Heaps" userId="b5f776f4-d2aa-4752-837a-86796e4c6c94" providerId="ADAL" clId="{775E38DF-7547-4EB7-819D-F21CF3EEFCB6}" dt="2025-10-08T12:57:52.518" v="84822" actId="948"/>
          <ac:spMkLst>
            <pc:docMk/>
            <pc:sldMk cId="1422998991" sldId="308"/>
            <ac:spMk id="2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2:57:52.589" v="84843"/>
          <ac:spMkLst>
            <pc:docMk/>
            <pc:sldMk cId="1422998991" sldId="308"/>
            <ac:spMk id="4" creationId="{69BB1057-5409-7956-DFF8-D633493008BD}"/>
          </ac:spMkLst>
        </pc:spChg>
        <pc:graphicFrameChg chg="add mod ord modVis">
          <ac:chgData name="Warren Heaps" userId="b5f776f4-d2aa-4752-837a-86796e4c6c94" providerId="ADAL" clId="{775E38DF-7547-4EB7-819D-F21CF3EEFCB6}" dt="2025-10-08T12:57:52.591" v="84845"/>
          <ac:graphicFrameMkLst>
            <pc:docMk/>
            <pc:sldMk cId="1422998991" sldId="308"/>
            <ac:graphicFrameMk id="5" creationId="{A93534E6-E863-A4AC-6EDD-4A2A1B5FD1AE}"/>
          </ac:graphicFrameMkLst>
        </pc:graphicFrameChg>
      </pc:sldChg>
      <pc:sldChg chg="addSp delSp modSp del mod modClrScheme chgLayout">
        <pc:chgData name="Warren Heaps" userId="b5f776f4-d2aa-4752-837a-86796e4c6c94" providerId="ADAL" clId="{775E38DF-7547-4EB7-819D-F21CF3EEFCB6}" dt="2025-10-07T03:55:51.339" v="65262" actId="47"/>
        <pc:sldMkLst>
          <pc:docMk/>
          <pc:sldMk cId="1371460916" sldId="311"/>
        </pc:sldMkLst>
      </pc:sldChg>
      <pc:sldChg chg="addSp delSp modSp del mod modClrScheme chgLayout modNotes">
        <pc:chgData name="Warren Heaps" userId="b5f776f4-d2aa-4752-837a-86796e4c6c94" providerId="ADAL" clId="{775E38DF-7547-4EB7-819D-F21CF3EEFCB6}" dt="2025-10-07T04:07:30.943" v="67837" actId="47"/>
        <pc:sldMkLst>
          <pc:docMk/>
          <pc:sldMk cId="2340766726" sldId="312"/>
        </pc:sldMkLst>
      </pc:sldChg>
      <pc:sldChg chg="addSp delSp modSp del mod modClrScheme chgLayout">
        <pc:chgData name="Warren Heaps" userId="b5f776f4-d2aa-4752-837a-86796e4c6c94" providerId="ADAL" clId="{775E38DF-7547-4EB7-819D-F21CF3EEFCB6}" dt="2025-10-07T03:45:44.828" v="62863" actId="47"/>
        <pc:sldMkLst>
          <pc:docMk/>
          <pc:sldMk cId="653260904" sldId="314"/>
        </pc:sldMkLst>
      </pc:sldChg>
      <pc:sldChg chg="addSp delSp modSp del mod modClrScheme chgLayout">
        <pc:chgData name="Warren Heaps" userId="b5f776f4-d2aa-4752-837a-86796e4c6c94" providerId="ADAL" clId="{775E38DF-7547-4EB7-819D-F21CF3EEFCB6}" dt="2025-10-07T03:45:42.640" v="62862" actId="47"/>
        <pc:sldMkLst>
          <pc:docMk/>
          <pc:sldMk cId="1759509320" sldId="315"/>
        </pc:sldMkLst>
      </pc:sldChg>
      <pc:sldChg chg="addSp delSp modSp mod modClrScheme chgLayout">
        <pc:chgData name="Warren Heaps" userId="b5f776f4-d2aa-4752-837a-86796e4c6c94" providerId="ADAL" clId="{775E38DF-7547-4EB7-819D-F21CF3EEFCB6}" dt="2025-10-08T13:52:58.254" v="97430"/>
        <pc:sldMkLst>
          <pc:docMk/>
          <pc:sldMk cId="1037629053" sldId="316"/>
        </pc:sldMkLst>
        <pc:spChg chg="mod ord">
          <ac:chgData name="Warren Heaps" userId="b5f776f4-d2aa-4752-837a-86796e4c6c94" providerId="ADAL" clId="{775E38DF-7547-4EB7-819D-F21CF3EEFCB6}" dt="2025-10-08T13:52:07.239" v="97277"/>
          <ac:spMkLst>
            <pc:docMk/>
            <pc:sldMk cId="1037629053" sldId="316"/>
            <ac:spMk id="2" creationId="{00000000-0000-0000-0000-000000000000}"/>
          </ac:spMkLst>
        </pc:spChg>
        <pc:spChg chg="del mod">
          <ac:chgData name="Warren Heaps" userId="b5f776f4-d2aa-4752-837a-86796e4c6c94" providerId="ADAL" clId="{775E38DF-7547-4EB7-819D-F21CF3EEFCB6}" dt="2025-10-08T13:10:07.864" v="87390" actId="478"/>
          <ac:spMkLst>
            <pc:docMk/>
            <pc:sldMk cId="1037629053" sldId="316"/>
            <ac:spMk id="4" creationId="{00000000-0000-0000-0000-000000000000}"/>
          </ac:spMkLst>
        </pc:spChg>
        <pc:spChg chg="add del mod">
          <ac:chgData name="Warren Heaps" userId="b5f776f4-d2aa-4752-837a-86796e4c6c94" providerId="ADAL" clId="{775E38DF-7547-4EB7-819D-F21CF3EEFCB6}" dt="2025-10-08T13:45:42.530" v="95891"/>
          <ac:spMkLst>
            <pc:docMk/>
            <pc:sldMk cId="1037629053" sldId="316"/>
            <ac:spMk id="11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13:20.460" v="87490"/>
          <ac:spMkLst>
            <pc:docMk/>
            <pc:sldMk cId="1037629053" sldId="316"/>
            <ac:spMk id="12" creationId="{185F6B5B-076D-A4E4-20C4-4F2F30479586}"/>
          </ac:spMkLst>
        </pc:spChg>
        <pc:spChg chg="add del mod modVis">
          <ac:chgData name="Warren Heaps" userId="b5f776f4-d2aa-4752-837a-86796e4c6c94" providerId="ADAL" clId="{775E38DF-7547-4EB7-819D-F21CF3EEFCB6}" dt="2025-10-08T13:13:28.147" v="87523"/>
          <ac:spMkLst>
            <pc:docMk/>
            <pc:sldMk cId="1037629053" sldId="316"/>
            <ac:spMk id="13" creationId="{C2CE2547-5316-6774-FEDB-19A9B0C4D3C9}"/>
          </ac:spMkLst>
        </pc:spChg>
        <pc:spChg chg="add del mod modVis">
          <ac:chgData name="Warren Heaps" userId="b5f776f4-d2aa-4752-837a-86796e4c6c94" providerId="ADAL" clId="{775E38DF-7547-4EB7-819D-F21CF3EEFCB6}" dt="2025-10-08T13:13:34.258" v="87555"/>
          <ac:spMkLst>
            <pc:docMk/>
            <pc:sldMk cId="1037629053" sldId="316"/>
            <ac:spMk id="14" creationId="{DE52D8E5-0C04-2066-2AD3-7976B30F38AB}"/>
          </ac:spMkLst>
        </pc:spChg>
        <pc:spChg chg="add del mod modVis">
          <ac:chgData name="Warren Heaps" userId="b5f776f4-d2aa-4752-837a-86796e4c6c94" providerId="ADAL" clId="{775E38DF-7547-4EB7-819D-F21CF3EEFCB6}" dt="2025-10-08T13:13:51.967" v="87599"/>
          <ac:spMkLst>
            <pc:docMk/>
            <pc:sldMk cId="1037629053" sldId="316"/>
            <ac:spMk id="15" creationId="{4D85A47B-0A1D-C5D7-7A52-34728D060E3E}"/>
          </ac:spMkLst>
        </pc:spChg>
        <pc:spChg chg="add del mod modVis">
          <ac:chgData name="Warren Heaps" userId="b5f776f4-d2aa-4752-837a-86796e4c6c94" providerId="ADAL" clId="{775E38DF-7547-4EB7-819D-F21CF3EEFCB6}" dt="2025-10-08T13:13:56.032" v="87642"/>
          <ac:spMkLst>
            <pc:docMk/>
            <pc:sldMk cId="1037629053" sldId="316"/>
            <ac:spMk id="16" creationId="{286A3CA3-AB37-3BDF-1FE1-4C883EBCEA8E}"/>
          </ac:spMkLst>
        </pc:spChg>
        <pc:spChg chg="add del mod modVis">
          <ac:chgData name="Warren Heaps" userId="b5f776f4-d2aa-4752-837a-86796e4c6c94" providerId="ADAL" clId="{775E38DF-7547-4EB7-819D-F21CF3EEFCB6}" dt="2025-10-08T13:13:58.500" v="87676"/>
          <ac:spMkLst>
            <pc:docMk/>
            <pc:sldMk cId="1037629053" sldId="316"/>
            <ac:spMk id="17" creationId="{7F515004-D79B-6CA9-D0DC-D9E7B43819BE}"/>
          </ac:spMkLst>
        </pc:spChg>
        <pc:spChg chg="add del mod modVis">
          <ac:chgData name="Warren Heaps" userId="b5f776f4-d2aa-4752-837a-86796e4c6c94" providerId="ADAL" clId="{775E38DF-7547-4EB7-819D-F21CF3EEFCB6}" dt="2025-10-08T13:13:59.265" v="87701"/>
          <ac:spMkLst>
            <pc:docMk/>
            <pc:sldMk cId="1037629053" sldId="316"/>
            <ac:spMk id="18" creationId="{97415971-F870-9313-7D62-57BF92E2CC04}"/>
          </ac:spMkLst>
        </pc:spChg>
        <pc:spChg chg="add del mod modVis">
          <ac:chgData name="Warren Heaps" userId="b5f776f4-d2aa-4752-837a-86796e4c6c94" providerId="ADAL" clId="{775E38DF-7547-4EB7-819D-F21CF3EEFCB6}" dt="2025-10-08T13:14:01.100" v="87732"/>
          <ac:spMkLst>
            <pc:docMk/>
            <pc:sldMk cId="1037629053" sldId="316"/>
            <ac:spMk id="19" creationId="{02B8BEE2-1179-07B2-4718-C8A972D8E739}"/>
          </ac:spMkLst>
        </pc:spChg>
        <pc:spChg chg="add del mod modVis">
          <ac:chgData name="Warren Heaps" userId="b5f776f4-d2aa-4752-837a-86796e4c6c94" providerId="ADAL" clId="{775E38DF-7547-4EB7-819D-F21CF3EEFCB6}" dt="2025-10-08T13:14:03.396" v="87767"/>
          <ac:spMkLst>
            <pc:docMk/>
            <pc:sldMk cId="1037629053" sldId="316"/>
            <ac:spMk id="20" creationId="{1BC30272-0EF3-D18E-6D5A-784382C8853F}"/>
          </ac:spMkLst>
        </pc:spChg>
        <pc:spChg chg="add del mod modVis">
          <ac:chgData name="Warren Heaps" userId="b5f776f4-d2aa-4752-837a-86796e4c6c94" providerId="ADAL" clId="{775E38DF-7547-4EB7-819D-F21CF3EEFCB6}" dt="2025-10-08T13:14:06.985" v="87795"/>
          <ac:spMkLst>
            <pc:docMk/>
            <pc:sldMk cId="1037629053" sldId="316"/>
            <ac:spMk id="21" creationId="{2B2F700C-56EB-96CF-1034-BDE44855A022}"/>
          </ac:spMkLst>
        </pc:spChg>
        <pc:spChg chg="add del mod modVis">
          <ac:chgData name="Warren Heaps" userId="b5f776f4-d2aa-4752-837a-86796e4c6c94" providerId="ADAL" clId="{775E38DF-7547-4EB7-819D-F21CF3EEFCB6}" dt="2025-10-08T13:14:10.106" v="87836"/>
          <ac:spMkLst>
            <pc:docMk/>
            <pc:sldMk cId="1037629053" sldId="316"/>
            <ac:spMk id="22" creationId="{19C70030-6932-EB42-D7DB-41FE54D59FFE}"/>
          </ac:spMkLst>
        </pc:spChg>
        <pc:spChg chg="add del mod modVis">
          <ac:chgData name="Warren Heaps" userId="b5f776f4-d2aa-4752-837a-86796e4c6c94" providerId="ADAL" clId="{775E38DF-7547-4EB7-819D-F21CF3EEFCB6}" dt="2025-10-08T13:14:10.969" v="87861"/>
          <ac:spMkLst>
            <pc:docMk/>
            <pc:sldMk cId="1037629053" sldId="316"/>
            <ac:spMk id="23" creationId="{7586D6A1-616E-C4E0-A021-E545539C53AB}"/>
          </ac:spMkLst>
        </pc:spChg>
        <pc:spChg chg="add del mod modVis">
          <ac:chgData name="Warren Heaps" userId="b5f776f4-d2aa-4752-837a-86796e4c6c94" providerId="ADAL" clId="{775E38DF-7547-4EB7-819D-F21CF3EEFCB6}" dt="2025-10-08T13:14:16.324" v="87889"/>
          <ac:spMkLst>
            <pc:docMk/>
            <pc:sldMk cId="1037629053" sldId="316"/>
            <ac:spMk id="24" creationId="{18F84478-72B9-C34E-0249-3545F9021229}"/>
          </ac:spMkLst>
        </pc:spChg>
        <pc:spChg chg="add del mod modVis">
          <ac:chgData name="Warren Heaps" userId="b5f776f4-d2aa-4752-837a-86796e4c6c94" providerId="ADAL" clId="{775E38DF-7547-4EB7-819D-F21CF3EEFCB6}" dt="2025-10-08T13:14:20.907" v="87936"/>
          <ac:spMkLst>
            <pc:docMk/>
            <pc:sldMk cId="1037629053" sldId="316"/>
            <ac:spMk id="25" creationId="{9F40E6C5-F2B1-097B-7FB0-7DB4335FC271}"/>
          </ac:spMkLst>
        </pc:spChg>
        <pc:spChg chg="add del mod modVis">
          <ac:chgData name="Warren Heaps" userId="b5f776f4-d2aa-4752-837a-86796e4c6c94" providerId="ADAL" clId="{775E38DF-7547-4EB7-819D-F21CF3EEFCB6}" dt="2025-10-08T13:14:21.916" v="87964"/>
          <ac:spMkLst>
            <pc:docMk/>
            <pc:sldMk cId="1037629053" sldId="316"/>
            <ac:spMk id="26" creationId="{A46DC1E3-A87D-84B3-091B-34B66A1A7879}"/>
          </ac:spMkLst>
        </pc:spChg>
        <pc:spChg chg="add del mod modVis">
          <ac:chgData name="Warren Heaps" userId="b5f776f4-d2aa-4752-837a-86796e4c6c94" providerId="ADAL" clId="{775E38DF-7547-4EB7-819D-F21CF3EEFCB6}" dt="2025-10-08T13:14:24.284" v="87999"/>
          <ac:spMkLst>
            <pc:docMk/>
            <pc:sldMk cId="1037629053" sldId="316"/>
            <ac:spMk id="27" creationId="{E38BDFD7-0C02-3BCD-C356-65BA6150239F}"/>
          </ac:spMkLst>
        </pc:spChg>
        <pc:spChg chg="add del mod modVis">
          <ac:chgData name="Warren Heaps" userId="b5f776f4-d2aa-4752-837a-86796e4c6c94" providerId="ADAL" clId="{775E38DF-7547-4EB7-819D-F21CF3EEFCB6}" dt="2025-10-08T13:14:26.873" v="88031"/>
          <ac:spMkLst>
            <pc:docMk/>
            <pc:sldMk cId="1037629053" sldId="316"/>
            <ac:spMk id="28" creationId="{521629BD-3075-4FF2-4C50-DE4D91867AE2}"/>
          </ac:spMkLst>
        </pc:spChg>
        <pc:spChg chg="add del mod modVis">
          <ac:chgData name="Warren Heaps" userId="b5f776f4-d2aa-4752-837a-86796e4c6c94" providerId="ADAL" clId="{775E38DF-7547-4EB7-819D-F21CF3EEFCB6}" dt="2025-10-08T13:14:29.625" v="88065"/>
          <ac:spMkLst>
            <pc:docMk/>
            <pc:sldMk cId="1037629053" sldId="316"/>
            <ac:spMk id="29" creationId="{C645983F-BE51-90DE-B07E-FBCC0EB02F25}"/>
          </ac:spMkLst>
        </pc:spChg>
        <pc:spChg chg="add del mod modVis">
          <ac:chgData name="Warren Heaps" userId="b5f776f4-d2aa-4752-837a-86796e4c6c94" providerId="ADAL" clId="{775E38DF-7547-4EB7-819D-F21CF3EEFCB6}" dt="2025-10-08T13:14:42.297" v="88105"/>
          <ac:spMkLst>
            <pc:docMk/>
            <pc:sldMk cId="1037629053" sldId="316"/>
            <ac:spMk id="30" creationId="{DED60BED-B7C6-32F7-41CF-243673326707}"/>
          </ac:spMkLst>
        </pc:spChg>
        <pc:spChg chg="add del mod modVis">
          <ac:chgData name="Warren Heaps" userId="b5f776f4-d2aa-4752-837a-86796e4c6c94" providerId="ADAL" clId="{775E38DF-7547-4EB7-819D-F21CF3EEFCB6}" dt="2025-10-08T13:14:43.149" v="88132"/>
          <ac:spMkLst>
            <pc:docMk/>
            <pc:sldMk cId="1037629053" sldId="316"/>
            <ac:spMk id="31" creationId="{9B95F941-BAE3-5004-DED1-42BEE48CC1A1}"/>
          </ac:spMkLst>
        </pc:spChg>
        <pc:spChg chg="add del mod modVis">
          <ac:chgData name="Warren Heaps" userId="b5f776f4-d2aa-4752-837a-86796e4c6c94" providerId="ADAL" clId="{775E38DF-7547-4EB7-819D-F21CF3EEFCB6}" dt="2025-10-08T13:14:44.657" v="88158"/>
          <ac:spMkLst>
            <pc:docMk/>
            <pc:sldMk cId="1037629053" sldId="316"/>
            <ac:spMk id="32" creationId="{8245782D-5C1B-8558-39F3-6484F5831E94}"/>
          </ac:spMkLst>
        </pc:spChg>
        <pc:spChg chg="add del mod modVis">
          <ac:chgData name="Warren Heaps" userId="b5f776f4-d2aa-4752-837a-86796e4c6c94" providerId="ADAL" clId="{775E38DF-7547-4EB7-819D-F21CF3EEFCB6}" dt="2025-10-08T13:14:45.613" v="88183"/>
          <ac:spMkLst>
            <pc:docMk/>
            <pc:sldMk cId="1037629053" sldId="316"/>
            <ac:spMk id="33" creationId="{69C1614F-5B0E-B235-A22A-A96E0067156C}"/>
          </ac:spMkLst>
        </pc:spChg>
        <pc:spChg chg="add del mod modVis">
          <ac:chgData name="Warren Heaps" userId="b5f776f4-d2aa-4752-837a-86796e4c6c94" providerId="ADAL" clId="{775E38DF-7547-4EB7-819D-F21CF3EEFCB6}" dt="2025-10-08T13:14:46.852" v="88210"/>
          <ac:spMkLst>
            <pc:docMk/>
            <pc:sldMk cId="1037629053" sldId="316"/>
            <ac:spMk id="34" creationId="{D8D51F6D-2516-1F45-2FE3-BB0994D12949}"/>
          </ac:spMkLst>
        </pc:spChg>
        <pc:spChg chg="add del mod modVis">
          <ac:chgData name="Warren Heaps" userId="b5f776f4-d2aa-4752-837a-86796e4c6c94" providerId="ADAL" clId="{775E38DF-7547-4EB7-819D-F21CF3EEFCB6}" dt="2025-10-08T13:14:57.506" v="88259"/>
          <ac:spMkLst>
            <pc:docMk/>
            <pc:sldMk cId="1037629053" sldId="316"/>
            <ac:spMk id="35" creationId="{A089C1CE-B526-30B9-5010-24A32FD549E7}"/>
          </ac:spMkLst>
        </pc:spChg>
        <pc:spChg chg="add del mod modVis">
          <ac:chgData name="Warren Heaps" userId="b5f776f4-d2aa-4752-837a-86796e4c6c94" providerId="ADAL" clId="{775E38DF-7547-4EB7-819D-F21CF3EEFCB6}" dt="2025-10-08T13:14:58.775" v="88287"/>
          <ac:spMkLst>
            <pc:docMk/>
            <pc:sldMk cId="1037629053" sldId="316"/>
            <ac:spMk id="36" creationId="{B556B59B-E2F5-99E6-053E-11B40AC52350}"/>
          </ac:spMkLst>
        </pc:spChg>
        <pc:spChg chg="add del mod modVis">
          <ac:chgData name="Warren Heaps" userId="b5f776f4-d2aa-4752-837a-86796e4c6c94" providerId="ADAL" clId="{775E38DF-7547-4EB7-819D-F21CF3EEFCB6}" dt="2025-10-08T13:15:03.996" v="88315"/>
          <ac:spMkLst>
            <pc:docMk/>
            <pc:sldMk cId="1037629053" sldId="316"/>
            <ac:spMk id="37" creationId="{68CE3CA2-9456-B67A-5492-68639B5F78E7}"/>
          </ac:spMkLst>
        </pc:spChg>
        <pc:spChg chg="add del mod modVis">
          <ac:chgData name="Warren Heaps" userId="b5f776f4-d2aa-4752-837a-86796e4c6c94" providerId="ADAL" clId="{775E38DF-7547-4EB7-819D-F21CF3EEFCB6}" dt="2025-10-08T13:15:05.202" v="88340"/>
          <ac:spMkLst>
            <pc:docMk/>
            <pc:sldMk cId="1037629053" sldId="316"/>
            <ac:spMk id="38" creationId="{7BF392C1-ABAB-A2C7-FE6E-C1F3654B9B41}"/>
          </ac:spMkLst>
        </pc:spChg>
        <pc:spChg chg="add del mod modVis">
          <ac:chgData name="Warren Heaps" userId="b5f776f4-d2aa-4752-837a-86796e4c6c94" providerId="ADAL" clId="{775E38DF-7547-4EB7-819D-F21CF3EEFCB6}" dt="2025-10-08T13:15:06.395" v="88368"/>
          <ac:spMkLst>
            <pc:docMk/>
            <pc:sldMk cId="1037629053" sldId="316"/>
            <ac:spMk id="39" creationId="{21DC868E-8B67-A36A-1EE4-E331F4C507F6}"/>
          </ac:spMkLst>
        </pc:spChg>
        <pc:spChg chg="add del mod modVis">
          <ac:chgData name="Warren Heaps" userId="b5f776f4-d2aa-4752-837a-86796e4c6c94" providerId="ADAL" clId="{775E38DF-7547-4EB7-819D-F21CF3EEFCB6}" dt="2025-10-08T13:15:07.171" v="88393"/>
          <ac:spMkLst>
            <pc:docMk/>
            <pc:sldMk cId="1037629053" sldId="316"/>
            <ac:spMk id="40" creationId="{6DD8357A-034F-B535-8A09-9C66F46034B5}"/>
          </ac:spMkLst>
        </pc:spChg>
        <pc:spChg chg="add del mod modVis">
          <ac:chgData name="Warren Heaps" userId="b5f776f4-d2aa-4752-837a-86796e4c6c94" providerId="ADAL" clId="{775E38DF-7547-4EB7-819D-F21CF3EEFCB6}" dt="2025-10-08T13:15:08.646" v="88420"/>
          <ac:spMkLst>
            <pc:docMk/>
            <pc:sldMk cId="1037629053" sldId="316"/>
            <ac:spMk id="41" creationId="{F484E08F-2153-DA0B-8616-7DFE28E9F533}"/>
          </ac:spMkLst>
        </pc:spChg>
        <pc:spChg chg="add del mod modVis">
          <ac:chgData name="Warren Heaps" userId="b5f776f4-d2aa-4752-837a-86796e4c6c94" providerId="ADAL" clId="{775E38DF-7547-4EB7-819D-F21CF3EEFCB6}" dt="2025-10-08T13:15:12.289" v="88466"/>
          <ac:spMkLst>
            <pc:docMk/>
            <pc:sldMk cId="1037629053" sldId="316"/>
            <ac:spMk id="42" creationId="{86851F42-59E6-9668-2281-88B051774254}"/>
          </ac:spMkLst>
        </pc:spChg>
        <pc:spChg chg="add del mod modVis">
          <ac:chgData name="Warren Heaps" userId="b5f776f4-d2aa-4752-837a-86796e4c6c94" providerId="ADAL" clId="{775E38DF-7547-4EB7-819D-F21CF3EEFCB6}" dt="2025-10-08T13:15:15.179" v="88499"/>
          <ac:spMkLst>
            <pc:docMk/>
            <pc:sldMk cId="1037629053" sldId="316"/>
            <ac:spMk id="43" creationId="{7B0BDCDC-366F-E79C-E3DD-FDC34612BE5A}"/>
          </ac:spMkLst>
        </pc:spChg>
        <pc:spChg chg="add del mod modVis">
          <ac:chgData name="Warren Heaps" userId="b5f776f4-d2aa-4752-837a-86796e4c6c94" providerId="ADAL" clId="{775E38DF-7547-4EB7-819D-F21CF3EEFCB6}" dt="2025-10-08T13:15:16.813" v="88526"/>
          <ac:spMkLst>
            <pc:docMk/>
            <pc:sldMk cId="1037629053" sldId="316"/>
            <ac:spMk id="44" creationId="{C1954716-6238-EC86-7EF8-5CA16CBE861C}"/>
          </ac:spMkLst>
        </pc:spChg>
        <pc:spChg chg="add del mod modVis">
          <ac:chgData name="Warren Heaps" userId="b5f776f4-d2aa-4752-837a-86796e4c6c94" providerId="ADAL" clId="{775E38DF-7547-4EB7-819D-F21CF3EEFCB6}" dt="2025-10-08T13:15:19.010" v="88552"/>
          <ac:spMkLst>
            <pc:docMk/>
            <pc:sldMk cId="1037629053" sldId="316"/>
            <ac:spMk id="45" creationId="{D46E212A-14E6-8319-B955-4A3D6B4DBA52}"/>
          </ac:spMkLst>
        </pc:spChg>
        <pc:spChg chg="add del mod modVis">
          <ac:chgData name="Warren Heaps" userId="b5f776f4-d2aa-4752-837a-86796e4c6c94" providerId="ADAL" clId="{775E38DF-7547-4EB7-819D-F21CF3EEFCB6}" dt="2025-10-08T13:15:49.384" v="88581"/>
          <ac:spMkLst>
            <pc:docMk/>
            <pc:sldMk cId="1037629053" sldId="316"/>
            <ac:spMk id="46" creationId="{B1921FA1-B92A-B70D-4901-36C1814D09AD}"/>
          </ac:spMkLst>
        </pc:spChg>
        <pc:spChg chg="add del mod modVis">
          <ac:chgData name="Warren Heaps" userId="b5f776f4-d2aa-4752-837a-86796e4c6c94" providerId="ADAL" clId="{775E38DF-7547-4EB7-819D-F21CF3EEFCB6}" dt="2025-10-08T13:15:53.893" v="88630"/>
          <ac:spMkLst>
            <pc:docMk/>
            <pc:sldMk cId="1037629053" sldId="316"/>
            <ac:spMk id="47" creationId="{0F8609E3-86DF-6271-3AC5-21E011B05B3D}"/>
          </ac:spMkLst>
        </pc:spChg>
        <pc:spChg chg="add del mod modVis">
          <ac:chgData name="Warren Heaps" userId="b5f776f4-d2aa-4752-837a-86796e4c6c94" providerId="ADAL" clId="{775E38DF-7547-4EB7-819D-F21CF3EEFCB6}" dt="2025-10-08T13:15:56.111" v="88660"/>
          <ac:spMkLst>
            <pc:docMk/>
            <pc:sldMk cId="1037629053" sldId="316"/>
            <ac:spMk id="48" creationId="{F8173110-8ADD-60F4-BBC0-B68FFE02D62C}"/>
          </ac:spMkLst>
        </pc:spChg>
        <pc:spChg chg="add del mod modVis">
          <ac:chgData name="Warren Heaps" userId="b5f776f4-d2aa-4752-837a-86796e4c6c94" providerId="ADAL" clId="{775E38DF-7547-4EB7-819D-F21CF3EEFCB6}" dt="2025-10-08T13:15:57.054" v="88688"/>
          <ac:spMkLst>
            <pc:docMk/>
            <pc:sldMk cId="1037629053" sldId="316"/>
            <ac:spMk id="49" creationId="{171B92E0-9949-DE3D-B5AF-68D00B1690D8}"/>
          </ac:spMkLst>
        </pc:spChg>
        <pc:spChg chg="add del mod modVis">
          <ac:chgData name="Warren Heaps" userId="b5f776f4-d2aa-4752-837a-86796e4c6c94" providerId="ADAL" clId="{775E38DF-7547-4EB7-819D-F21CF3EEFCB6}" dt="2025-10-08T13:16:02.163" v="88741"/>
          <ac:spMkLst>
            <pc:docMk/>
            <pc:sldMk cId="1037629053" sldId="316"/>
            <ac:spMk id="50" creationId="{B7938490-F40B-FAF1-D570-0DDF8D492C39}"/>
          </ac:spMkLst>
        </pc:spChg>
        <pc:spChg chg="add del mod modVis">
          <ac:chgData name="Warren Heaps" userId="b5f776f4-d2aa-4752-837a-86796e4c6c94" providerId="ADAL" clId="{775E38DF-7547-4EB7-819D-F21CF3EEFCB6}" dt="2025-10-08T13:16:04.854" v="88780"/>
          <ac:spMkLst>
            <pc:docMk/>
            <pc:sldMk cId="1037629053" sldId="316"/>
            <ac:spMk id="51" creationId="{A710F4B4-1E13-415C-D7EA-561645B5D998}"/>
          </ac:spMkLst>
        </pc:spChg>
        <pc:spChg chg="add del mod modVis">
          <ac:chgData name="Warren Heaps" userId="b5f776f4-d2aa-4752-837a-86796e4c6c94" providerId="ADAL" clId="{775E38DF-7547-4EB7-819D-F21CF3EEFCB6}" dt="2025-10-08T13:16:05.774" v="88805"/>
          <ac:spMkLst>
            <pc:docMk/>
            <pc:sldMk cId="1037629053" sldId="316"/>
            <ac:spMk id="52" creationId="{64705810-0381-129B-B7FE-6B57AA09505A}"/>
          </ac:spMkLst>
        </pc:spChg>
        <pc:spChg chg="add del mod modVis">
          <ac:chgData name="Warren Heaps" userId="b5f776f4-d2aa-4752-837a-86796e4c6c94" providerId="ADAL" clId="{775E38DF-7547-4EB7-819D-F21CF3EEFCB6}" dt="2025-10-08T13:16:06.811" v="88830"/>
          <ac:spMkLst>
            <pc:docMk/>
            <pc:sldMk cId="1037629053" sldId="316"/>
            <ac:spMk id="53" creationId="{9D2068D1-99F5-F41E-B1FC-7876F1A809DC}"/>
          </ac:spMkLst>
        </pc:spChg>
        <pc:spChg chg="add del mod modVis">
          <ac:chgData name="Warren Heaps" userId="b5f776f4-d2aa-4752-837a-86796e4c6c94" providerId="ADAL" clId="{775E38DF-7547-4EB7-819D-F21CF3EEFCB6}" dt="2025-10-08T13:16:07.763" v="88857"/>
          <ac:spMkLst>
            <pc:docMk/>
            <pc:sldMk cId="1037629053" sldId="316"/>
            <ac:spMk id="54" creationId="{213FE374-FDF8-FA5A-E268-31C3805AC3F2}"/>
          </ac:spMkLst>
        </pc:spChg>
        <pc:spChg chg="add del mod modVis">
          <ac:chgData name="Warren Heaps" userId="b5f776f4-d2aa-4752-837a-86796e4c6c94" providerId="ADAL" clId="{775E38DF-7547-4EB7-819D-F21CF3EEFCB6}" dt="2025-10-08T13:16:08.457" v="88882"/>
          <ac:spMkLst>
            <pc:docMk/>
            <pc:sldMk cId="1037629053" sldId="316"/>
            <ac:spMk id="55" creationId="{AF8AEB0E-4300-6F86-F6DD-4D2D7FDEB26F}"/>
          </ac:spMkLst>
        </pc:spChg>
        <pc:spChg chg="add del mod modVis">
          <ac:chgData name="Warren Heaps" userId="b5f776f4-d2aa-4752-837a-86796e4c6c94" providerId="ADAL" clId="{775E38DF-7547-4EB7-819D-F21CF3EEFCB6}" dt="2025-10-08T13:16:11.509" v="88925"/>
          <ac:spMkLst>
            <pc:docMk/>
            <pc:sldMk cId="1037629053" sldId="316"/>
            <ac:spMk id="56" creationId="{858F1C68-6071-17E3-1213-07026CEC4295}"/>
          </ac:spMkLst>
        </pc:spChg>
        <pc:spChg chg="add del mod modVis">
          <ac:chgData name="Warren Heaps" userId="b5f776f4-d2aa-4752-837a-86796e4c6c94" providerId="ADAL" clId="{775E38DF-7547-4EB7-819D-F21CF3EEFCB6}" dt="2025-10-08T13:16:13.959" v="88955"/>
          <ac:spMkLst>
            <pc:docMk/>
            <pc:sldMk cId="1037629053" sldId="316"/>
            <ac:spMk id="57" creationId="{C7C0FCC7-B3FD-4F7D-A773-361042AF6221}"/>
          </ac:spMkLst>
        </pc:spChg>
        <pc:spChg chg="add del mod modVis">
          <ac:chgData name="Warren Heaps" userId="b5f776f4-d2aa-4752-837a-86796e4c6c94" providerId="ADAL" clId="{775E38DF-7547-4EB7-819D-F21CF3EEFCB6}" dt="2025-10-08T13:16:15.456" v="88982"/>
          <ac:spMkLst>
            <pc:docMk/>
            <pc:sldMk cId="1037629053" sldId="316"/>
            <ac:spMk id="58" creationId="{6CA8FAF0-4D1B-C7A9-45D1-0C7BA3EB0920}"/>
          </ac:spMkLst>
        </pc:spChg>
        <pc:spChg chg="add del mod modVis">
          <ac:chgData name="Warren Heaps" userId="b5f776f4-d2aa-4752-837a-86796e4c6c94" providerId="ADAL" clId="{775E38DF-7547-4EB7-819D-F21CF3EEFCB6}" dt="2025-10-08T13:16:21.173" v="89007"/>
          <ac:spMkLst>
            <pc:docMk/>
            <pc:sldMk cId="1037629053" sldId="316"/>
            <ac:spMk id="59" creationId="{488B9E3D-8264-1AD0-26F7-25952E1E4990}"/>
          </ac:spMkLst>
        </pc:spChg>
        <pc:spChg chg="add del mod modVis">
          <ac:chgData name="Warren Heaps" userId="b5f776f4-d2aa-4752-837a-86796e4c6c94" providerId="ADAL" clId="{775E38DF-7547-4EB7-819D-F21CF3EEFCB6}" dt="2025-10-08T13:16:24.010" v="89042"/>
          <ac:spMkLst>
            <pc:docMk/>
            <pc:sldMk cId="1037629053" sldId="316"/>
            <ac:spMk id="60" creationId="{F8B0066C-25E9-F1A3-EBCB-7C3908D71D99}"/>
          </ac:spMkLst>
        </pc:spChg>
        <pc:spChg chg="add del mod modVis">
          <ac:chgData name="Warren Heaps" userId="b5f776f4-d2aa-4752-837a-86796e4c6c94" providerId="ADAL" clId="{775E38DF-7547-4EB7-819D-F21CF3EEFCB6}" dt="2025-10-08T13:16:26.235" v="89067"/>
          <ac:spMkLst>
            <pc:docMk/>
            <pc:sldMk cId="1037629053" sldId="316"/>
            <ac:spMk id="61" creationId="{6FA8C7B2-FA3F-B580-CD1B-F2EF25C5E8CD}"/>
          </ac:spMkLst>
        </pc:spChg>
        <pc:spChg chg="add del mod modVis">
          <ac:chgData name="Warren Heaps" userId="b5f776f4-d2aa-4752-837a-86796e4c6c94" providerId="ADAL" clId="{775E38DF-7547-4EB7-819D-F21CF3EEFCB6}" dt="2025-10-08T13:16:27.652" v="89095"/>
          <ac:spMkLst>
            <pc:docMk/>
            <pc:sldMk cId="1037629053" sldId="316"/>
            <ac:spMk id="62" creationId="{CBE113B5-DD01-5D6E-6812-C2859F392C1F}"/>
          </ac:spMkLst>
        </pc:spChg>
        <pc:spChg chg="add del mod modVis">
          <ac:chgData name="Warren Heaps" userId="b5f776f4-d2aa-4752-837a-86796e4c6c94" providerId="ADAL" clId="{775E38DF-7547-4EB7-819D-F21CF3EEFCB6}" dt="2025-10-08T13:16:30.314" v="89139"/>
          <ac:spMkLst>
            <pc:docMk/>
            <pc:sldMk cId="1037629053" sldId="316"/>
            <ac:spMk id="63" creationId="{87A8D4A8-5BFC-EDC3-C473-B39B8A60C981}"/>
          </ac:spMkLst>
        </pc:spChg>
        <pc:spChg chg="add del mod modVis">
          <ac:chgData name="Warren Heaps" userId="b5f776f4-d2aa-4752-837a-86796e4c6c94" providerId="ADAL" clId="{775E38DF-7547-4EB7-819D-F21CF3EEFCB6}" dt="2025-10-08T13:16:32.987" v="89177"/>
          <ac:spMkLst>
            <pc:docMk/>
            <pc:sldMk cId="1037629053" sldId="316"/>
            <ac:spMk id="64" creationId="{C7226990-0DFF-BFD0-1828-1AEAEC9872B6}"/>
          </ac:spMkLst>
        </pc:spChg>
        <pc:spChg chg="add del mod modVis">
          <ac:chgData name="Warren Heaps" userId="b5f776f4-d2aa-4752-837a-86796e4c6c94" providerId="ADAL" clId="{775E38DF-7547-4EB7-819D-F21CF3EEFCB6}" dt="2025-10-08T13:16:36.306" v="89215"/>
          <ac:spMkLst>
            <pc:docMk/>
            <pc:sldMk cId="1037629053" sldId="316"/>
            <ac:spMk id="65" creationId="{69EAAF50-786C-4FDD-18A5-DC5BCFADF161}"/>
          </ac:spMkLst>
        </pc:spChg>
        <pc:spChg chg="add del mod modVis">
          <ac:chgData name="Warren Heaps" userId="b5f776f4-d2aa-4752-837a-86796e4c6c94" providerId="ADAL" clId="{775E38DF-7547-4EB7-819D-F21CF3EEFCB6}" dt="2025-10-08T13:16:37.763" v="89242"/>
          <ac:spMkLst>
            <pc:docMk/>
            <pc:sldMk cId="1037629053" sldId="316"/>
            <ac:spMk id="66" creationId="{1059A42F-F6D2-FDB4-CB1C-E444B315A1F8}"/>
          </ac:spMkLst>
        </pc:spChg>
        <pc:spChg chg="add del mod modVis">
          <ac:chgData name="Warren Heaps" userId="b5f776f4-d2aa-4752-837a-86796e4c6c94" providerId="ADAL" clId="{775E38DF-7547-4EB7-819D-F21CF3EEFCB6}" dt="2025-10-08T13:16:38.501" v="89267"/>
          <ac:spMkLst>
            <pc:docMk/>
            <pc:sldMk cId="1037629053" sldId="316"/>
            <ac:spMk id="67" creationId="{34258B97-3FC9-B9AC-AE34-8E13CAA170B4}"/>
          </ac:spMkLst>
        </pc:spChg>
        <pc:spChg chg="add del mod modVis">
          <ac:chgData name="Warren Heaps" userId="b5f776f4-d2aa-4752-837a-86796e4c6c94" providerId="ADAL" clId="{775E38DF-7547-4EB7-819D-F21CF3EEFCB6}" dt="2025-10-08T13:16:40.036" v="89299"/>
          <ac:spMkLst>
            <pc:docMk/>
            <pc:sldMk cId="1037629053" sldId="316"/>
            <ac:spMk id="68" creationId="{2E0EF5C4-5B11-420E-524E-92E11DE48D37}"/>
          </ac:spMkLst>
        </pc:spChg>
        <pc:spChg chg="add del mod modVis">
          <ac:chgData name="Warren Heaps" userId="b5f776f4-d2aa-4752-837a-86796e4c6c94" providerId="ADAL" clId="{775E38DF-7547-4EB7-819D-F21CF3EEFCB6}" dt="2025-10-08T13:16:40.956" v="89325"/>
          <ac:spMkLst>
            <pc:docMk/>
            <pc:sldMk cId="1037629053" sldId="316"/>
            <ac:spMk id="69" creationId="{22360E67-E185-C244-9DE9-6EE0B92D6CF2}"/>
          </ac:spMkLst>
        </pc:spChg>
        <pc:spChg chg="add del mod modVis">
          <ac:chgData name="Warren Heaps" userId="b5f776f4-d2aa-4752-837a-86796e4c6c94" providerId="ADAL" clId="{775E38DF-7547-4EB7-819D-F21CF3EEFCB6}" dt="2025-10-08T13:16:42.342" v="89350"/>
          <ac:spMkLst>
            <pc:docMk/>
            <pc:sldMk cId="1037629053" sldId="316"/>
            <ac:spMk id="70" creationId="{1286824F-4218-2E3E-DE17-9603C25EDA2A}"/>
          </ac:spMkLst>
        </pc:spChg>
        <pc:spChg chg="add del mod modVis">
          <ac:chgData name="Warren Heaps" userId="b5f776f4-d2aa-4752-837a-86796e4c6c94" providerId="ADAL" clId="{775E38DF-7547-4EB7-819D-F21CF3EEFCB6}" dt="2025-10-08T13:19:20.432" v="89410"/>
          <ac:spMkLst>
            <pc:docMk/>
            <pc:sldMk cId="1037629053" sldId="316"/>
            <ac:spMk id="73" creationId="{56286ED2-785E-3331-035B-991B82A91529}"/>
          </ac:spMkLst>
        </pc:spChg>
        <pc:spChg chg="add del mod modVis">
          <ac:chgData name="Warren Heaps" userId="b5f776f4-d2aa-4752-837a-86796e4c6c94" providerId="ADAL" clId="{775E38DF-7547-4EB7-819D-F21CF3EEFCB6}" dt="2025-10-08T13:19:23.501" v="89446"/>
          <ac:spMkLst>
            <pc:docMk/>
            <pc:sldMk cId="1037629053" sldId="316"/>
            <ac:spMk id="74" creationId="{4B0DA730-1FE2-B660-B730-8DD8CA0A5177}"/>
          </ac:spMkLst>
        </pc:spChg>
        <pc:spChg chg="add del mod modVis">
          <ac:chgData name="Warren Heaps" userId="b5f776f4-d2aa-4752-837a-86796e4c6c94" providerId="ADAL" clId="{775E38DF-7547-4EB7-819D-F21CF3EEFCB6}" dt="2025-10-08T13:19:29.952" v="89474"/>
          <ac:spMkLst>
            <pc:docMk/>
            <pc:sldMk cId="1037629053" sldId="316"/>
            <ac:spMk id="75" creationId="{FA343B02-8EC2-ADA2-657B-DDB738E39B2E}"/>
          </ac:spMkLst>
        </pc:spChg>
        <pc:spChg chg="add del mod modVis">
          <ac:chgData name="Warren Heaps" userId="b5f776f4-d2aa-4752-837a-86796e4c6c94" providerId="ADAL" clId="{775E38DF-7547-4EB7-819D-F21CF3EEFCB6}" dt="2025-10-08T13:19:31.046" v="89502"/>
          <ac:spMkLst>
            <pc:docMk/>
            <pc:sldMk cId="1037629053" sldId="316"/>
            <ac:spMk id="76" creationId="{7E9C2FF5-F40D-CED0-779B-B232DC525682}"/>
          </ac:spMkLst>
        </pc:spChg>
        <pc:spChg chg="add del mod modVis">
          <ac:chgData name="Warren Heaps" userId="b5f776f4-d2aa-4752-837a-86796e4c6c94" providerId="ADAL" clId="{775E38DF-7547-4EB7-819D-F21CF3EEFCB6}" dt="2025-10-08T13:19:31.964" v="89527"/>
          <ac:spMkLst>
            <pc:docMk/>
            <pc:sldMk cId="1037629053" sldId="316"/>
            <ac:spMk id="77" creationId="{40A97FC3-4513-D098-2DC4-BF263D4C9876}"/>
          </ac:spMkLst>
        </pc:spChg>
        <pc:spChg chg="add del mod modVis">
          <ac:chgData name="Warren Heaps" userId="b5f776f4-d2aa-4752-837a-86796e4c6c94" providerId="ADAL" clId="{775E38DF-7547-4EB7-819D-F21CF3EEFCB6}" dt="2025-10-08T13:19:36.990" v="89552"/>
          <ac:spMkLst>
            <pc:docMk/>
            <pc:sldMk cId="1037629053" sldId="316"/>
            <ac:spMk id="78" creationId="{C827FCFC-15EE-645E-C4D1-763DA6E48051}"/>
          </ac:spMkLst>
        </pc:spChg>
        <pc:spChg chg="add del mod modVis">
          <ac:chgData name="Warren Heaps" userId="b5f776f4-d2aa-4752-837a-86796e4c6c94" providerId="ADAL" clId="{775E38DF-7547-4EB7-819D-F21CF3EEFCB6}" dt="2025-10-08T13:19:40.390" v="89580"/>
          <ac:spMkLst>
            <pc:docMk/>
            <pc:sldMk cId="1037629053" sldId="316"/>
            <ac:spMk id="79" creationId="{F80EE201-A1AF-ED2C-A36A-4CCBC48C8D61}"/>
          </ac:spMkLst>
        </pc:spChg>
        <pc:spChg chg="add del mod modVis">
          <ac:chgData name="Warren Heaps" userId="b5f776f4-d2aa-4752-837a-86796e4c6c94" providerId="ADAL" clId="{775E38DF-7547-4EB7-819D-F21CF3EEFCB6}" dt="2025-10-08T13:19:41.389" v="89605"/>
          <ac:spMkLst>
            <pc:docMk/>
            <pc:sldMk cId="1037629053" sldId="316"/>
            <ac:spMk id="80" creationId="{0C768FF6-1076-5714-12B3-61F2278795E5}"/>
          </ac:spMkLst>
        </pc:spChg>
        <pc:spChg chg="add del mod modVis">
          <ac:chgData name="Warren Heaps" userId="b5f776f4-d2aa-4752-837a-86796e4c6c94" providerId="ADAL" clId="{775E38DF-7547-4EB7-819D-F21CF3EEFCB6}" dt="2025-10-08T13:19:42.170" v="89630"/>
          <ac:spMkLst>
            <pc:docMk/>
            <pc:sldMk cId="1037629053" sldId="316"/>
            <ac:spMk id="81" creationId="{87286BD8-38DC-DCFF-8E9B-9A692C28ECF8}"/>
          </ac:spMkLst>
        </pc:spChg>
        <pc:spChg chg="add del mod modVis">
          <ac:chgData name="Warren Heaps" userId="b5f776f4-d2aa-4752-837a-86796e4c6c94" providerId="ADAL" clId="{775E38DF-7547-4EB7-819D-F21CF3EEFCB6}" dt="2025-10-08T13:19:44.337" v="89660"/>
          <ac:spMkLst>
            <pc:docMk/>
            <pc:sldMk cId="1037629053" sldId="316"/>
            <ac:spMk id="82" creationId="{FA6B2847-F0D3-F7FB-85BC-5EC56EFDF654}"/>
          </ac:spMkLst>
        </pc:spChg>
        <pc:spChg chg="add del mod modVis">
          <ac:chgData name="Warren Heaps" userId="b5f776f4-d2aa-4752-837a-86796e4c6c94" providerId="ADAL" clId="{775E38DF-7547-4EB7-819D-F21CF3EEFCB6}" dt="2025-10-08T13:19:45.241" v="89686"/>
          <ac:spMkLst>
            <pc:docMk/>
            <pc:sldMk cId="1037629053" sldId="316"/>
            <ac:spMk id="83" creationId="{8638A3C7-FE17-5143-43B8-57D762036A4F}"/>
          </ac:spMkLst>
        </pc:spChg>
        <pc:spChg chg="add del mod modVis">
          <ac:chgData name="Warren Heaps" userId="b5f776f4-d2aa-4752-837a-86796e4c6c94" providerId="ADAL" clId="{775E38DF-7547-4EB7-819D-F21CF3EEFCB6}" dt="2025-10-08T13:30:47.083" v="89749"/>
          <ac:spMkLst>
            <pc:docMk/>
            <pc:sldMk cId="1037629053" sldId="316"/>
            <ac:spMk id="84" creationId="{D6ECAA11-F86E-3932-8226-CAD88D232CED}"/>
          </ac:spMkLst>
        </pc:spChg>
        <pc:spChg chg="add del mod modVis">
          <ac:chgData name="Warren Heaps" userId="b5f776f4-d2aa-4752-837a-86796e4c6c94" providerId="ADAL" clId="{775E38DF-7547-4EB7-819D-F21CF3EEFCB6}" dt="2025-10-08T13:30:52.629" v="89788"/>
          <ac:spMkLst>
            <pc:docMk/>
            <pc:sldMk cId="1037629053" sldId="316"/>
            <ac:spMk id="85" creationId="{E30C93B2-C963-8703-F4C3-0FD4D7A8089C}"/>
          </ac:spMkLst>
        </pc:spChg>
        <pc:spChg chg="add del mod modVis">
          <ac:chgData name="Warren Heaps" userId="b5f776f4-d2aa-4752-837a-86796e4c6c94" providerId="ADAL" clId="{775E38DF-7547-4EB7-819D-F21CF3EEFCB6}" dt="2025-10-08T13:30:54.352" v="89815"/>
          <ac:spMkLst>
            <pc:docMk/>
            <pc:sldMk cId="1037629053" sldId="316"/>
            <ac:spMk id="86" creationId="{DCC61645-8F7C-2181-2C7C-F76911D1B9DD}"/>
          </ac:spMkLst>
        </pc:spChg>
        <pc:spChg chg="add del mod modVis">
          <ac:chgData name="Warren Heaps" userId="b5f776f4-d2aa-4752-837a-86796e4c6c94" providerId="ADAL" clId="{775E38DF-7547-4EB7-819D-F21CF3EEFCB6}" dt="2025-10-08T13:30:55.797" v="89843"/>
          <ac:spMkLst>
            <pc:docMk/>
            <pc:sldMk cId="1037629053" sldId="316"/>
            <ac:spMk id="87" creationId="{08B43DCD-3C5F-5DDD-E7ED-B27AB7700A88}"/>
          </ac:spMkLst>
        </pc:spChg>
        <pc:spChg chg="add del mod modVis">
          <ac:chgData name="Warren Heaps" userId="b5f776f4-d2aa-4752-837a-86796e4c6c94" providerId="ADAL" clId="{775E38DF-7547-4EB7-819D-F21CF3EEFCB6}" dt="2025-10-08T13:31:01.246" v="89890"/>
          <ac:spMkLst>
            <pc:docMk/>
            <pc:sldMk cId="1037629053" sldId="316"/>
            <ac:spMk id="88" creationId="{2A2CB500-B019-A796-B41A-D00807614F5E}"/>
          </ac:spMkLst>
        </pc:spChg>
        <pc:spChg chg="add del mod modVis">
          <ac:chgData name="Warren Heaps" userId="b5f776f4-d2aa-4752-837a-86796e4c6c94" providerId="ADAL" clId="{775E38DF-7547-4EB7-819D-F21CF3EEFCB6}" dt="2025-10-08T13:31:03.117" v="89919"/>
          <ac:spMkLst>
            <pc:docMk/>
            <pc:sldMk cId="1037629053" sldId="316"/>
            <ac:spMk id="89" creationId="{4C3387EE-EA12-B800-BF5B-FA4F946BC126}"/>
          </ac:spMkLst>
        </pc:spChg>
        <pc:spChg chg="add del mod modVis">
          <ac:chgData name="Warren Heaps" userId="b5f776f4-d2aa-4752-837a-86796e4c6c94" providerId="ADAL" clId="{775E38DF-7547-4EB7-819D-F21CF3EEFCB6}" dt="2025-10-08T13:31:04.122" v="89944"/>
          <ac:spMkLst>
            <pc:docMk/>
            <pc:sldMk cId="1037629053" sldId="316"/>
            <ac:spMk id="90" creationId="{B4B7B6D9-070E-13F3-C97A-CCA9A7BF4146}"/>
          </ac:spMkLst>
        </pc:spChg>
        <pc:spChg chg="add del mod">
          <ac:chgData name="Warren Heaps" userId="b5f776f4-d2aa-4752-837a-86796e4c6c94" providerId="ADAL" clId="{775E38DF-7547-4EB7-819D-F21CF3EEFCB6}" dt="2025-10-08T13:33:11.245" v="90914"/>
          <ac:spMkLst>
            <pc:docMk/>
            <pc:sldMk cId="1037629053" sldId="316"/>
            <ac:spMk id="91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31:56.248" v="90294"/>
          <ac:spMkLst>
            <pc:docMk/>
            <pc:sldMk cId="1037629053" sldId="316"/>
            <ac:spMk id="92" creationId="{5B3A9C7F-1B1E-33C5-30D8-89141A3728DB}"/>
          </ac:spMkLst>
        </pc:spChg>
        <pc:spChg chg="add del mod">
          <ac:chgData name="Warren Heaps" userId="b5f776f4-d2aa-4752-837a-86796e4c6c94" providerId="ADAL" clId="{775E38DF-7547-4EB7-819D-F21CF3EEFCB6}" dt="2025-10-08T13:33:12.152" v="90954"/>
          <ac:spMkLst>
            <pc:docMk/>
            <pc:sldMk cId="1037629053" sldId="316"/>
            <ac:spMk id="93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8T13:52:07.251" v="97286"/>
          <ac:spMkLst>
            <pc:docMk/>
            <pc:sldMk cId="1037629053" sldId="316"/>
            <ac:spMk id="94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8T13:52:07.253" v="97287"/>
          <ac:spMkLst>
            <pc:docMk/>
            <pc:sldMk cId="1037629053" sldId="316"/>
            <ac:spMk id="95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8T13:52:07.254" v="97288"/>
          <ac:spMkLst>
            <pc:docMk/>
            <pc:sldMk cId="1037629053" sldId="316"/>
            <ac:spMk id="96" creationId="{885371E8-7632-3C4A-ADA5-1A7187B6BE78}"/>
          </ac:spMkLst>
        </pc:spChg>
        <pc:spChg chg="add del mod">
          <ac:chgData name="Warren Heaps" userId="b5f776f4-d2aa-4752-837a-86796e4c6c94" providerId="ADAL" clId="{775E38DF-7547-4EB7-819D-F21CF3EEFCB6}" dt="2025-10-08T13:33:11.243" v="90913"/>
          <ac:spMkLst>
            <pc:docMk/>
            <pc:sldMk cId="1037629053" sldId="316"/>
            <ac:spMk id="98" creationId="{12C8BD59-0599-335E-79B0-172694AF09B8}"/>
          </ac:spMkLst>
        </pc:spChg>
        <pc:spChg chg="add del mod">
          <ac:chgData name="Warren Heaps" userId="b5f776f4-d2aa-4752-837a-86796e4c6c94" providerId="ADAL" clId="{775E38DF-7547-4EB7-819D-F21CF3EEFCB6}" dt="2025-10-08T13:33:12.150" v="90953"/>
          <ac:spMkLst>
            <pc:docMk/>
            <pc:sldMk cId="1037629053" sldId="316"/>
            <ac:spMk id="99" creationId="{00BBD7DB-DCC4-CAB3-74C9-DA090D6EF1DF}"/>
          </ac:spMkLst>
        </pc:spChg>
        <pc:spChg chg="add mod">
          <ac:chgData name="Warren Heaps" userId="b5f776f4-d2aa-4752-837a-86796e4c6c94" providerId="ADAL" clId="{775E38DF-7547-4EB7-819D-F21CF3EEFCB6}" dt="2025-10-08T13:52:07.255" v="97289"/>
          <ac:spMkLst>
            <pc:docMk/>
            <pc:sldMk cId="1037629053" sldId="316"/>
            <ac:spMk id="100" creationId="{E6169AA0-263E-1B17-8C30-220B79FC4C05}"/>
          </ac:spMkLst>
        </pc:spChg>
        <pc:spChg chg="add mod">
          <ac:chgData name="Warren Heaps" userId="b5f776f4-d2aa-4752-837a-86796e4c6c94" providerId="ADAL" clId="{775E38DF-7547-4EB7-819D-F21CF3EEFCB6}" dt="2025-10-08T13:52:07.256" v="97290"/>
          <ac:spMkLst>
            <pc:docMk/>
            <pc:sldMk cId="1037629053" sldId="316"/>
            <ac:spMk id="101" creationId="{20323AF0-A402-7798-7688-6DD24636863C}"/>
          </ac:spMkLst>
        </pc:spChg>
        <pc:spChg chg="add mod">
          <ac:chgData name="Warren Heaps" userId="b5f776f4-d2aa-4752-837a-86796e4c6c94" providerId="ADAL" clId="{775E38DF-7547-4EB7-819D-F21CF3EEFCB6}" dt="2025-10-08T13:52:07.257" v="97291"/>
          <ac:spMkLst>
            <pc:docMk/>
            <pc:sldMk cId="1037629053" sldId="316"/>
            <ac:spMk id="102" creationId="{AEE0796B-04E3-2588-4FB0-952C537965FA}"/>
          </ac:spMkLst>
        </pc:spChg>
        <pc:spChg chg="add mod">
          <ac:chgData name="Warren Heaps" userId="b5f776f4-d2aa-4752-837a-86796e4c6c94" providerId="ADAL" clId="{775E38DF-7547-4EB7-819D-F21CF3EEFCB6}" dt="2025-10-08T13:52:07.257" v="97292"/>
          <ac:spMkLst>
            <pc:docMk/>
            <pc:sldMk cId="1037629053" sldId="316"/>
            <ac:spMk id="103" creationId="{1C3F9B6D-B0D5-E48B-1C01-DB1C19EF7158}"/>
          </ac:spMkLst>
        </pc:spChg>
        <pc:spChg chg="add mod">
          <ac:chgData name="Warren Heaps" userId="b5f776f4-d2aa-4752-837a-86796e4c6c94" providerId="ADAL" clId="{775E38DF-7547-4EB7-819D-F21CF3EEFCB6}" dt="2025-10-08T13:52:07.258" v="97293"/>
          <ac:spMkLst>
            <pc:docMk/>
            <pc:sldMk cId="1037629053" sldId="316"/>
            <ac:spMk id="104" creationId="{FD9F572B-5A73-576D-AAA6-A5901F667E62}"/>
          </ac:spMkLst>
        </pc:spChg>
        <pc:spChg chg="add mod">
          <ac:chgData name="Warren Heaps" userId="b5f776f4-d2aa-4752-837a-86796e4c6c94" providerId="ADAL" clId="{775E38DF-7547-4EB7-819D-F21CF3EEFCB6}" dt="2025-10-08T13:52:07.260" v="97294"/>
          <ac:spMkLst>
            <pc:docMk/>
            <pc:sldMk cId="1037629053" sldId="316"/>
            <ac:spMk id="105" creationId="{9C0C2D67-5F4B-0316-AB89-7E0CB9CDB62A}"/>
          </ac:spMkLst>
        </pc:spChg>
        <pc:spChg chg="add mod">
          <ac:chgData name="Warren Heaps" userId="b5f776f4-d2aa-4752-837a-86796e4c6c94" providerId="ADAL" clId="{775E38DF-7547-4EB7-819D-F21CF3EEFCB6}" dt="2025-10-08T13:52:07.261" v="97295"/>
          <ac:spMkLst>
            <pc:docMk/>
            <pc:sldMk cId="1037629053" sldId="316"/>
            <ac:spMk id="106" creationId="{07D4EF40-89B6-4F23-B32B-D60EF919C97C}"/>
          </ac:spMkLst>
        </pc:spChg>
        <pc:spChg chg="add mod">
          <ac:chgData name="Warren Heaps" userId="b5f776f4-d2aa-4752-837a-86796e4c6c94" providerId="ADAL" clId="{775E38DF-7547-4EB7-819D-F21CF3EEFCB6}" dt="2025-10-08T13:52:07.262" v="97296"/>
          <ac:spMkLst>
            <pc:docMk/>
            <pc:sldMk cId="1037629053" sldId="316"/>
            <ac:spMk id="107" creationId="{B05DE179-CAAD-CC31-C96F-004458871A6F}"/>
          </ac:spMkLst>
        </pc:spChg>
        <pc:spChg chg="add mod">
          <ac:chgData name="Warren Heaps" userId="b5f776f4-d2aa-4752-837a-86796e4c6c94" providerId="ADAL" clId="{775E38DF-7547-4EB7-819D-F21CF3EEFCB6}" dt="2025-10-08T13:52:07.263" v="97297"/>
          <ac:spMkLst>
            <pc:docMk/>
            <pc:sldMk cId="1037629053" sldId="316"/>
            <ac:spMk id="108" creationId="{484D7806-5992-906D-2C53-29BE7D5F0A34}"/>
          </ac:spMkLst>
        </pc:spChg>
        <pc:spChg chg="add mod">
          <ac:chgData name="Warren Heaps" userId="b5f776f4-d2aa-4752-837a-86796e4c6c94" providerId="ADAL" clId="{775E38DF-7547-4EB7-819D-F21CF3EEFCB6}" dt="2025-10-08T13:52:07.265" v="97298"/>
          <ac:spMkLst>
            <pc:docMk/>
            <pc:sldMk cId="1037629053" sldId="316"/>
            <ac:spMk id="109" creationId="{6A20B22F-0DE7-9020-7BB7-D063D6AF679E}"/>
          </ac:spMkLst>
        </pc:spChg>
        <pc:spChg chg="add mod">
          <ac:chgData name="Warren Heaps" userId="b5f776f4-d2aa-4752-837a-86796e4c6c94" providerId="ADAL" clId="{775E38DF-7547-4EB7-819D-F21CF3EEFCB6}" dt="2025-10-08T13:52:07.267" v="97299"/>
          <ac:spMkLst>
            <pc:docMk/>
            <pc:sldMk cId="1037629053" sldId="316"/>
            <ac:spMk id="110" creationId="{73C259A6-D93C-9AA7-89F2-4BDBB0200A22}"/>
          </ac:spMkLst>
        </pc:spChg>
        <pc:spChg chg="add mod">
          <ac:chgData name="Warren Heaps" userId="b5f776f4-d2aa-4752-837a-86796e4c6c94" providerId="ADAL" clId="{775E38DF-7547-4EB7-819D-F21CF3EEFCB6}" dt="2025-10-08T13:52:07.268" v="97300"/>
          <ac:spMkLst>
            <pc:docMk/>
            <pc:sldMk cId="1037629053" sldId="316"/>
            <ac:spMk id="111" creationId="{8E928538-C2F2-ED26-3F33-016308F15C92}"/>
          </ac:spMkLst>
        </pc:spChg>
        <pc:spChg chg="add mod">
          <ac:chgData name="Warren Heaps" userId="b5f776f4-d2aa-4752-837a-86796e4c6c94" providerId="ADAL" clId="{775E38DF-7547-4EB7-819D-F21CF3EEFCB6}" dt="2025-10-08T13:52:07.270" v="97301"/>
          <ac:spMkLst>
            <pc:docMk/>
            <pc:sldMk cId="1037629053" sldId="316"/>
            <ac:spMk id="112" creationId="{3B7A62ED-E710-CA1D-BDC2-6D30EAF0A171}"/>
          </ac:spMkLst>
        </pc:spChg>
        <pc:spChg chg="add del mod modVis">
          <ac:chgData name="Warren Heaps" userId="b5f776f4-d2aa-4752-837a-86796e4c6c94" providerId="ADAL" clId="{775E38DF-7547-4EB7-819D-F21CF3EEFCB6}" dt="2025-10-08T13:32:45.073" v="90631"/>
          <ac:spMkLst>
            <pc:docMk/>
            <pc:sldMk cId="1037629053" sldId="316"/>
            <ac:spMk id="113" creationId="{0D3CBD01-E3C2-9F75-8B2D-CC9605EE5552}"/>
          </ac:spMkLst>
        </pc:spChg>
        <pc:spChg chg="add del mod modVis">
          <ac:chgData name="Warren Heaps" userId="b5f776f4-d2aa-4752-837a-86796e4c6c94" providerId="ADAL" clId="{775E38DF-7547-4EB7-819D-F21CF3EEFCB6}" dt="2025-10-08T13:32:59.657" v="90908"/>
          <ac:spMkLst>
            <pc:docMk/>
            <pc:sldMk cId="1037629053" sldId="316"/>
            <ac:spMk id="115" creationId="{85C83B26-3A5A-C51F-CD1D-1373BDAFF28D}"/>
          </ac:spMkLst>
        </pc:spChg>
        <pc:spChg chg="add del mod modVis">
          <ac:chgData name="Warren Heaps" userId="b5f776f4-d2aa-4752-837a-86796e4c6c94" providerId="ADAL" clId="{775E38DF-7547-4EB7-819D-F21CF3EEFCB6}" dt="2025-10-08T13:33:25.864" v="91093"/>
          <ac:spMkLst>
            <pc:docMk/>
            <pc:sldMk cId="1037629053" sldId="316"/>
            <ac:spMk id="120" creationId="{9D1D9A17-28FD-FD29-AE30-26B76E0F1CE0}"/>
          </ac:spMkLst>
        </pc:spChg>
        <pc:spChg chg="add del mod modVis">
          <ac:chgData name="Warren Heaps" userId="b5f776f4-d2aa-4752-837a-86796e4c6c94" providerId="ADAL" clId="{775E38DF-7547-4EB7-819D-F21CF3EEFCB6}" dt="2025-10-08T13:34:03.356" v="91426"/>
          <ac:spMkLst>
            <pc:docMk/>
            <pc:sldMk cId="1037629053" sldId="316"/>
            <ac:spMk id="124" creationId="{2B37680C-94D4-5212-69F1-A1DAE8237E5C}"/>
          </ac:spMkLst>
        </pc:spChg>
        <pc:spChg chg="add del mod modVis">
          <ac:chgData name="Warren Heaps" userId="b5f776f4-d2aa-4752-837a-86796e4c6c94" providerId="ADAL" clId="{775E38DF-7547-4EB7-819D-F21CF3EEFCB6}" dt="2025-10-08T13:35:11.062" v="91731"/>
          <ac:spMkLst>
            <pc:docMk/>
            <pc:sldMk cId="1037629053" sldId="316"/>
            <ac:spMk id="126" creationId="{32531AC2-01C2-5010-3B3D-0343EBA03BA5}"/>
          </ac:spMkLst>
        </pc:spChg>
        <pc:spChg chg="add del mod modVis">
          <ac:chgData name="Warren Heaps" userId="b5f776f4-d2aa-4752-837a-86796e4c6c94" providerId="ADAL" clId="{775E38DF-7547-4EB7-819D-F21CF3EEFCB6}" dt="2025-10-08T13:35:22.427" v="91909"/>
          <ac:spMkLst>
            <pc:docMk/>
            <pc:sldMk cId="1037629053" sldId="316"/>
            <ac:spMk id="128" creationId="{1CA37F10-FF4A-197C-918E-05B44E0B5789}"/>
          </ac:spMkLst>
        </pc:spChg>
        <pc:spChg chg="add del mod">
          <ac:chgData name="Warren Heaps" userId="b5f776f4-d2aa-4752-837a-86796e4c6c94" providerId="ADAL" clId="{775E38DF-7547-4EB7-819D-F21CF3EEFCB6}" dt="2025-10-08T13:35:33.104" v="92017"/>
          <ac:spMkLst>
            <pc:docMk/>
            <pc:sldMk cId="1037629053" sldId="316"/>
            <ac:spMk id="130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35:30.505" v="92014"/>
          <ac:spMkLst>
            <pc:docMk/>
            <pc:sldMk cId="1037629053" sldId="316"/>
            <ac:spMk id="131" creationId="{AABDAF24-0609-EC6F-C00E-8B14824D0339}"/>
          </ac:spMkLst>
        </pc:spChg>
        <pc:spChg chg="add del mod modVis">
          <ac:chgData name="Warren Heaps" userId="b5f776f4-d2aa-4752-837a-86796e4c6c94" providerId="ADAL" clId="{775E38DF-7547-4EB7-819D-F21CF3EEFCB6}" dt="2025-10-08T13:35:41.943" v="92127"/>
          <ac:spMkLst>
            <pc:docMk/>
            <pc:sldMk cId="1037629053" sldId="316"/>
            <ac:spMk id="134" creationId="{D5051993-176E-A1F8-FF58-F816B8025F9E}"/>
          </ac:spMkLst>
        </pc:spChg>
        <pc:spChg chg="add mod">
          <ac:chgData name="Warren Heaps" userId="b5f776f4-d2aa-4752-837a-86796e4c6c94" providerId="ADAL" clId="{775E38DF-7547-4EB7-819D-F21CF3EEFCB6}" dt="2025-10-08T13:52:58.245" v="97426"/>
          <ac:spMkLst>
            <pc:docMk/>
            <pc:sldMk cId="1037629053" sldId="316"/>
            <ac:spMk id="137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36:01.759" v="92292"/>
          <ac:spMkLst>
            <pc:docMk/>
            <pc:sldMk cId="1037629053" sldId="316"/>
            <ac:spMk id="138" creationId="{EBBC47CF-40D1-8AF5-43DD-25DB6F266ACE}"/>
          </ac:spMkLst>
        </pc:spChg>
        <pc:spChg chg="add del mod modVis">
          <ac:chgData name="Warren Heaps" userId="b5f776f4-d2aa-4752-837a-86796e4c6c94" providerId="ADAL" clId="{775E38DF-7547-4EB7-819D-F21CF3EEFCB6}" dt="2025-10-08T13:36:12.104" v="92325"/>
          <ac:spMkLst>
            <pc:docMk/>
            <pc:sldMk cId="1037629053" sldId="316"/>
            <ac:spMk id="139" creationId="{0857E2BD-26B7-152F-48AB-D9BEFF3B1AD4}"/>
          </ac:spMkLst>
        </pc:spChg>
        <pc:spChg chg="add del mod modVis">
          <ac:chgData name="Warren Heaps" userId="b5f776f4-d2aa-4752-837a-86796e4c6c94" providerId="ADAL" clId="{775E38DF-7547-4EB7-819D-F21CF3EEFCB6}" dt="2025-10-08T13:36:13.601" v="92356"/>
          <ac:spMkLst>
            <pc:docMk/>
            <pc:sldMk cId="1037629053" sldId="316"/>
            <ac:spMk id="140" creationId="{5251AF5A-C78E-99E3-2BBF-EAD88BFDA2BD}"/>
          </ac:spMkLst>
        </pc:spChg>
        <pc:spChg chg="add del mod modVis">
          <ac:chgData name="Warren Heaps" userId="b5f776f4-d2aa-4752-837a-86796e4c6c94" providerId="ADAL" clId="{775E38DF-7547-4EB7-819D-F21CF3EEFCB6}" dt="2025-10-08T13:36:14.650" v="92381"/>
          <ac:spMkLst>
            <pc:docMk/>
            <pc:sldMk cId="1037629053" sldId="316"/>
            <ac:spMk id="141" creationId="{76B20FFF-A3DF-4901-8262-D76364BB0D7E}"/>
          </ac:spMkLst>
        </pc:spChg>
        <pc:spChg chg="add del mod modVis">
          <ac:chgData name="Warren Heaps" userId="b5f776f4-d2aa-4752-837a-86796e4c6c94" providerId="ADAL" clId="{775E38DF-7547-4EB7-819D-F21CF3EEFCB6}" dt="2025-10-08T13:36:15.593" v="92409"/>
          <ac:spMkLst>
            <pc:docMk/>
            <pc:sldMk cId="1037629053" sldId="316"/>
            <ac:spMk id="142" creationId="{87EC397F-7E41-EDA7-5545-591C329D9992}"/>
          </ac:spMkLst>
        </pc:spChg>
        <pc:spChg chg="add del mod modVis">
          <ac:chgData name="Warren Heaps" userId="b5f776f4-d2aa-4752-837a-86796e4c6c94" providerId="ADAL" clId="{775E38DF-7547-4EB7-819D-F21CF3EEFCB6}" dt="2025-10-08T13:36:20.655" v="92449"/>
          <ac:spMkLst>
            <pc:docMk/>
            <pc:sldMk cId="1037629053" sldId="316"/>
            <ac:spMk id="143" creationId="{E57A6EC7-FCFA-A4BB-7C62-63C41EF27244}"/>
          </ac:spMkLst>
        </pc:spChg>
        <pc:spChg chg="add del mod modVis">
          <ac:chgData name="Warren Heaps" userId="b5f776f4-d2aa-4752-837a-86796e4c6c94" providerId="ADAL" clId="{775E38DF-7547-4EB7-819D-F21CF3EEFCB6}" dt="2025-10-08T13:36:24.302" v="92486"/>
          <ac:spMkLst>
            <pc:docMk/>
            <pc:sldMk cId="1037629053" sldId="316"/>
            <ac:spMk id="144" creationId="{F788DCE6-0E03-8854-CA0D-815F3E0FAE02}"/>
          </ac:spMkLst>
        </pc:spChg>
        <pc:spChg chg="add del mod modVis">
          <ac:chgData name="Warren Heaps" userId="b5f776f4-d2aa-4752-837a-86796e4c6c94" providerId="ADAL" clId="{775E38DF-7547-4EB7-819D-F21CF3EEFCB6}" dt="2025-10-08T13:36:24.702" v="92513"/>
          <ac:spMkLst>
            <pc:docMk/>
            <pc:sldMk cId="1037629053" sldId="316"/>
            <ac:spMk id="145" creationId="{EF4E3FC0-1BE2-B9E6-0225-04CD76A919F3}"/>
          </ac:spMkLst>
        </pc:spChg>
        <pc:spChg chg="add del mod modVis">
          <ac:chgData name="Warren Heaps" userId="b5f776f4-d2aa-4752-837a-86796e4c6c94" providerId="ADAL" clId="{775E38DF-7547-4EB7-819D-F21CF3EEFCB6}" dt="2025-10-08T13:36:25.899" v="92541"/>
          <ac:spMkLst>
            <pc:docMk/>
            <pc:sldMk cId="1037629053" sldId="316"/>
            <ac:spMk id="146" creationId="{8F43899E-942E-CC81-58AF-A1D998A58FB6}"/>
          </ac:spMkLst>
        </pc:spChg>
        <pc:spChg chg="add del mod modVis">
          <ac:chgData name="Warren Heaps" userId="b5f776f4-d2aa-4752-837a-86796e4c6c94" providerId="ADAL" clId="{775E38DF-7547-4EB7-819D-F21CF3EEFCB6}" dt="2025-10-08T13:36:27.271" v="92571"/>
          <ac:spMkLst>
            <pc:docMk/>
            <pc:sldMk cId="1037629053" sldId="316"/>
            <ac:spMk id="147" creationId="{D8BA8B25-D9AB-E787-62CA-AF57209C39C3}"/>
          </ac:spMkLst>
        </pc:spChg>
        <pc:spChg chg="add del mod modVis">
          <ac:chgData name="Warren Heaps" userId="b5f776f4-d2aa-4752-837a-86796e4c6c94" providerId="ADAL" clId="{775E38DF-7547-4EB7-819D-F21CF3EEFCB6}" dt="2025-10-08T13:36:28.869" v="92601"/>
          <ac:spMkLst>
            <pc:docMk/>
            <pc:sldMk cId="1037629053" sldId="316"/>
            <ac:spMk id="148" creationId="{501C12AB-6118-B824-FF42-BD141CDD7F83}"/>
          </ac:spMkLst>
        </pc:spChg>
        <pc:spChg chg="add del mod modVis">
          <ac:chgData name="Warren Heaps" userId="b5f776f4-d2aa-4752-837a-86796e4c6c94" providerId="ADAL" clId="{775E38DF-7547-4EB7-819D-F21CF3EEFCB6}" dt="2025-10-08T13:36:34.701" v="92645"/>
          <ac:spMkLst>
            <pc:docMk/>
            <pc:sldMk cId="1037629053" sldId="316"/>
            <ac:spMk id="149" creationId="{92594EC9-1A1D-35C2-962F-6E8D8C4136E0}"/>
          </ac:spMkLst>
        </pc:spChg>
        <pc:spChg chg="add del mod modVis">
          <ac:chgData name="Warren Heaps" userId="b5f776f4-d2aa-4752-837a-86796e4c6c94" providerId="ADAL" clId="{775E38DF-7547-4EB7-819D-F21CF3EEFCB6}" dt="2025-10-08T13:36:35.528" v="92672"/>
          <ac:spMkLst>
            <pc:docMk/>
            <pc:sldMk cId="1037629053" sldId="316"/>
            <ac:spMk id="150" creationId="{1AA3E564-BDB4-1546-0848-9261BFA1E228}"/>
          </ac:spMkLst>
        </pc:spChg>
        <pc:spChg chg="add del mod modVis">
          <ac:chgData name="Warren Heaps" userId="b5f776f4-d2aa-4752-837a-86796e4c6c94" providerId="ADAL" clId="{775E38DF-7547-4EB7-819D-F21CF3EEFCB6}" dt="2025-10-08T13:36:38.230" v="92710"/>
          <ac:spMkLst>
            <pc:docMk/>
            <pc:sldMk cId="1037629053" sldId="316"/>
            <ac:spMk id="151" creationId="{C60DC237-FAFD-B841-60C8-DAF735CD738D}"/>
          </ac:spMkLst>
        </pc:spChg>
        <pc:spChg chg="add del mod modVis">
          <ac:chgData name="Warren Heaps" userId="b5f776f4-d2aa-4752-837a-86796e4c6c94" providerId="ADAL" clId="{775E38DF-7547-4EB7-819D-F21CF3EEFCB6}" dt="2025-10-08T13:36:39.607" v="92735"/>
          <ac:spMkLst>
            <pc:docMk/>
            <pc:sldMk cId="1037629053" sldId="316"/>
            <ac:spMk id="152" creationId="{B6F65293-DCFD-E2B7-256C-3D28C68F2D3D}"/>
          </ac:spMkLst>
        </pc:spChg>
        <pc:spChg chg="add del mod modVis">
          <ac:chgData name="Warren Heaps" userId="b5f776f4-d2aa-4752-837a-86796e4c6c94" providerId="ADAL" clId="{775E38DF-7547-4EB7-819D-F21CF3EEFCB6}" dt="2025-10-08T13:36:42.024" v="92772"/>
          <ac:spMkLst>
            <pc:docMk/>
            <pc:sldMk cId="1037629053" sldId="316"/>
            <ac:spMk id="153" creationId="{94B4FFAD-7A2E-D59D-B619-2792507A3E69}"/>
          </ac:spMkLst>
        </pc:spChg>
        <pc:spChg chg="add del mod modVis">
          <ac:chgData name="Warren Heaps" userId="b5f776f4-d2aa-4752-837a-86796e4c6c94" providerId="ADAL" clId="{775E38DF-7547-4EB7-819D-F21CF3EEFCB6}" dt="2025-10-08T13:36:55.039" v="92798"/>
          <ac:spMkLst>
            <pc:docMk/>
            <pc:sldMk cId="1037629053" sldId="316"/>
            <ac:spMk id="154" creationId="{D0F3BCEE-4778-C7B0-F2DB-3A84A0791B27}"/>
          </ac:spMkLst>
        </pc:spChg>
        <pc:spChg chg="add del mod modVis">
          <ac:chgData name="Warren Heaps" userId="b5f776f4-d2aa-4752-837a-86796e4c6c94" providerId="ADAL" clId="{775E38DF-7547-4EB7-819D-F21CF3EEFCB6}" dt="2025-10-08T13:37:03.222" v="92824"/>
          <ac:spMkLst>
            <pc:docMk/>
            <pc:sldMk cId="1037629053" sldId="316"/>
            <ac:spMk id="155" creationId="{D0BE455F-5000-755B-FDE9-0445AD853EA0}"/>
          </ac:spMkLst>
        </pc:spChg>
        <pc:spChg chg="add del mod modVis">
          <ac:chgData name="Warren Heaps" userId="b5f776f4-d2aa-4752-837a-86796e4c6c94" providerId="ADAL" clId="{775E38DF-7547-4EB7-819D-F21CF3EEFCB6}" dt="2025-10-08T13:38:05.813" v="92857"/>
          <ac:spMkLst>
            <pc:docMk/>
            <pc:sldMk cId="1037629053" sldId="316"/>
            <ac:spMk id="156" creationId="{A158E87D-A54E-34CD-DF59-8D85C8E1AC5D}"/>
          </ac:spMkLst>
        </pc:spChg>
        <pc:spChg chg="add del mod modVis">
          <ac:chgData name="Warren Heaps" userId="b5f776f4-d2aa-4752-837a-86796e4c6c94" providerId="ADAL" clId="{775E38DF-7547-4EB7-819D-F21CF3EEFCB6}" dt="2025-10-08T13:38:08.169" v="92883"/>
          <ac:spMkLst>
            <pc:docMk/>
            <pc:sldMk cId="1037629053" sldId="316"/>
            <ac:spMk id="157" creationId="{2CE06668-4347-DE69-107D-C3F6F77765D9}"/>
          </ac:spMkLst>
        </pc:spChg>
        <pc:spChg chg="add del mod modVis">
          <ac:chgData name="Warren Heaps" userId="b5f776f4-d2aa-4752-837a-86796e4c6c94" providerId="ADAL" clId="{775E38DF-7547-4EB7-819D-F21CF3EEFCB6}" dt="2025-10-08T13:38:10.369" v="92915"/>
          <ac:spMkLst>
            <pc:docMk/>
            <pc:sldMk cId="1037629053" sldId="316"/>
            <ac:spMk id="158" creationId="{E1B269D0-3251-46DA-DF8F-7E5FB2DD9286}"/>
          </ac:spMkLst>
        </pc:spChg>
        <pc:spChg chg="add del mod modVis">
          <ac:chgData name="Warren Heaps" userId="b5f776f4-d2aa-4752-837a-86796e4c6c94" providerId="ADAL" clId="{775E38DF-7547-4EB7-819D-F21CF3EEFCB6}" dt="2025-10-08T13:38:14.068" v="92965"/>
          <ac:spMkLst>
            <pc:docMk/>
            <pc:sldMk cId="1037629053" sldId="316"/>
            <ac:spMk id="159" creationId="{EE14F117-D9D5-AED6-5ADE-5C16839A3AAC}"/>
          </ac:spMkLst>
        </pc:spChg>
        <pc:spChg chg="add del mod modVis">
          <ac:chgData name="Warren Heaps" userId="b5f776f4-d2aa-4752-837a-86796e4c6c94" providerId="ADAL" clId="{775E38DF-7547-4EB7-819D-F21CF3EEFCB6}" dt="2025-10-08T13:38:17.805" v="93012"/>
          <ac:spMkLst>
            <pc:docMk/>
            <pc:sldMk cId="1037629053" sldId="316"/>
            <ac:spMk id="160" creationId="{28A26206-97D6-EEBB-DEFE-69C880B4EE05}"/>
          </ac:spMkLst>
        </pc:spChg>
        <pc:spChg chg="add del mod modVis">
          <ac:chgData name="Warren Heaps" userId="b5f776f4-d2aa-4752-837a-86796e4c6c94" providerId="ADAL" clId="{775E38DF-7547-4EB7-819D-F21CF3EEFCB6}" dt="2025-10-08T13:38:19.601" v="93058"/>
          <ac:spMkLst>
            <pc:docMk/>
            <pc:sldMk cId="1037629053" sldId="316"/>
            <ac:spMk id="161" creationId="{4E1DC5F9-08B5-33A5-9AD4-90B5F4A49FF6}"/>
          </ac:spMkLst>
        </pc:spChg>
        <pc:spChg chg="add del mod modVis">
          <ac:chgData name="Warren Heaps" userId="b5f776f4-d2aa-4752-837a-86796e4c6c94" providerId="ADAL" clId="{775E38DF-7547-4EB7-819D-F21CF3EEFCB6}" dt="2025-10-08T13:38:20.859" v="93094"/>
          <ac:spMkLst>
            <pc:docMk/>
            <pc:sldMk cId="1037629053" sldId="316"/>
            <ac:spMk id="162" creationId="{45F63998-3A45-6869-0E64-13AAEFE980E9}"/>
          </ac:spMkLst>
        </pc:spChg>
        <pc:spChg chg="add del mod modVis">
          <ac:chgData name="Warren Heaps" userId="b5f776f4-d2aa-4752-837a-86796e4c6c94" providerId="ADAL" clId="{775E38DF-7547-4EB7-819D-F21CF3EEFCB6}" dt="2025-10-08T13:38:21.777" v="93127"/>
          <ac:spMkLst>
            <pc:docMk/>
            <pc:sldMk cId="1037629053" sldId="316"/>
            <ac:spMk id="163" creationId="{958A59EC-6585-DFD4-C85A-C96D30209004}"/>
          </ac:spMkLst>
        </pc:spChg>
        <pc:spChg chg="add del mod modVis">
          <ac:chgData name="Warren Heaps" userId="b5f776f4-d2aa-4752-837a-86796e4c6c94" providerId="ADAL" clId="{775E38DF-7547-4EB7-819D-F21CF3EEFCB6}" dt="2025-10-08T13:38:23.193" v="93161"/>
          <ac:spMkLst>
            <pc:docMk/>
            <pc:sldMk cId="1037629053" sldId="316"/>
            <ac:spMk id="164" creationId="{C123FE34-A25B-25B1-E549-539467B3EC37}"/>
          </ac:spMkLst>
        </pc:spChg>
        <pc:spChg chg="add del mod modVis">
          <ac:chgData name="Warren Heaps" userId="b5f776f4-d2aa-4752-837a-86796e4c6c94" providerId="ADAL" clId="{775E38DF-7547-4EB7-819D-F21CF3EEFCB6}" dt="2025-10-08T13:38:23.977" v="93194"/>
          <ac:spMkLst>
            <pc:docMk/>
            <pc:sldMk cId="1037629053" sldId="316"/>
            <ac:spMk id="165" creationId="{068E5289-3BE8-20DA-3258-FA7C83E7C238}"/>
          </ac:spMkLst>
        </pc:spChg>
        <pc:spChg chg="add del mod modVis">
          <ac:chgData name="Warren Heaps" userId="b5f776f4-d2aa-4752-837a-86796e4c6c94" providerId="ADAL" clId="{775E38DF-7547-4EB7-819D-F21CF3EEFCB6}" dt="2025-10-08T13:38:27.342" v="93239"/>
          <ac:spMkLst>
            <pc:docMk/>
            <pc:sldMk cId="1037629053" sldId="316"/>
            <ac:spMk id="166" creationId="{0CBA6707-8F6D-ACBC-8FB0-5FF8684F7EB0}"/>
          </ac:spMkLst>
        </pc:spChg>
        <pc:spChg chg="add del mod modVis">
          <ac:chgData name="Warren Heaps" userId="b5f776f4-d2aa-4752-837a-86796e4c6c94" providerId="ADAL" clId="{775E38DF-7547-4EB7-819D-F21CF3EEFCB6}" dt="2025-10-08T13:38:28.690" v="93274"/>
          <ac:spMkLst>
            <pc:docMk/>
            <pc:sldMk cId="1037629053" sldId="316"/>
            <ac:spMk id="167" creationId="{383B29A3-1AB8-B032-81CC-1CB656E09A37}"/>
          </ac:spMkLst>
        </pc:spChg>
        <pc:spChg chg="add del mod modVis">
          <ac:chgData name="Warren Heaps" userId="b5f776f4-d2aa-4752-837a-86796e4c6c94" providerId="ADAL" clId="{775E38DF-7547-4EB7-819D-F21CF3EEFCB6}" dt="2025-10-08T13:38:31.359" v="93317"/>
          <ac:spMkLst>
            <pc:docMk/>
            <pc:sldMk cId="1037629053" sldId="316"/>
            <ac:spMk id="168" creationId="{B251470F-29C9-D6F4-B5B2-749EAB2CACD9}"/>
          </ac:spMkLst>
        </pc:spChg>
        <pc:spChg chg="add del mod modVis">
          <ac:chgData name="Warren Heaps" userId="b5f776f4-d2aa-4752-837a-86796e4c6c94" providerId="ADAL" clId="{775E38DF-7547-4EB7-819D-F21CF3EEFCB6}" dt="2025-10-08T13:38:33.430" v="93351"/>
          <ac:spMkLst>
            <pc:docMk/>
            <pc:sldMk cId="1037629053" sldId="316"/>
            <ac:spMk id="169" creationId="{9E3FA3C8-2649-086E-AD9F-7AD1ADDDE2AD}"/>
          </ac:spMkLst>
        </pc:spChg>
        <pc:spChg chg="add del mod ord">
          <ac:chgData name="Warren Heaps" userId="b5f776f4-d2aa-4752-837a-86796e4c6c94" providerId="ADAL" clId="{775E38DF-7547-4EB7-819D-F21CF3EEFCB6}" dt="2025-10-08T13:39:52.838" v="94070"/>
          <ac:spMkLst>
            <pc:docMk/>
            <pc:sldMk cId="1037629053" sldId="316"/>
            <ac:spMk id="171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38:55.170" v="93548"/>
          <ac:spMkLst>
            <pc:docMk/>
            <pc:sldMk cId="1037629053" sldId="316"/>
            <ac:spMk id="172" creationId="{7C6819C7-7D13-6526-AFC2-9D20537C0A92}"/>
          </ac:spMkLst>
        </pc:spChg>
        <pc:spChg chg="add del mod modVis">
          <ac:chgData name="Warren Heaps" userId="b5f776f4-d2aa-4752-837a-86796e4c6c94" providerId="ADAL" clId="{775E38DF-7547-4EB7-819D-F21CF3EEFCB6}" dt="2025-10-08T13:39:08.078" v="93668"/>
          <ac:spMkLst>
            <pc:docMk/>
            <pc:sldMk cId="1037629053" sldId="316"/>
            <ac:spMk id="177" creationId="{F2B45838-3536-65A9-322E-DC05873722DC}"/>
          </ac:spMkLst>
        </pc:spChg>
        <pc:spChg chg="add del mod modVis">
          <ac:chgData name="Warren Heaps" userId="b5f776f4-d2aa-4752-837a-86796e4c6c94" providerId="ADAL" clId="{775E38DF-7547-4EB7-819D-F21CF3EEFCB6}" dt="2025-10-08T13:39:54.274" v="94386"/>
          <ac:spMkLst>
            <pc:docMk/>
            <pc:sldMk cId="1037629053" sldId="316"/>
            <ac:spMk id="182" creationId="{4A7741D3-0D72-64C6-7707-9B115D6C577E}"/>
          </ac:spMkLst>
        </pc:spChg>
        <pc:spChg chg="add mod ord">
          <ac:chgData name="Warren Heaps" userId="b5f776f4-d2aa-4752-837a-86796e4c6c94" providerId="ADAL" clId="{775E38DF-7547-4EB7-819D-F21CF3EEFCB6}" dt="2025-10-08T13:52:07.273" v="97303"/>
          <ac:spMkLst>
            <pc:docMk/>
            <pc:sldMk cId="1037629053" sldId="316"/>
            <ac:spMk id="184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40:13.834" v="94552"/>
          <ac:spMkLst>
            <pc:docMk/>
            <pc:sldMk cId="1037629053" sldId="316"/>
            <ac:spMk id="185" creationId="{E71B46D9-ED9C-8033-4820-0BA622A15F10}"/>
          </ac:spMkLst>
        </pc:spChg>
        <pc:spChg chg="add del mod modVis">
          <ac:chgData name="Warren Heaps" userId="b5f776f4-d2aa-4752-837a-86796e4c6c94" providerId="ADAL" clId="{775E38DF-7547-4EB7-819D-F21CF3EEFCB6}" dt="2025-10-08T13:40:23.075" v="94672"/>
          <ac:spMkLst>
            <pc:docMk/>
            <pc:sldMk cId="1037629053" sldId="316"/>
            <ac:spMk id="190" creationId="{51A2BF89-98C8-5B34-410A-75A242D38E84}"/>
          </ac:spMkLst>
        </pc:spChg>
        <pc:spChg chg="add mod">
          <ac:chgData name="Warren Heaps" userId="b5f776f4-d2aa-4752-837a-86796e4c6c94" providerId="ADAL" clId="{775E38DF-7547-4EB7-819D-F21CF3EEFCB6}" dt="2025-10-08T13:52:58.248" v="97428"/>
          <ac:spMkLst>
            <pc:docMk/>
            <pc:sldMk cId="1037629053" sldId="316"/>
            <ac:spMk id="193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41:59.285" v="94871"/>
          <ac:spMkLst>
            <pc:docMk/>
            <pc:sldMk cId="1037629053" sldId="316"/>
            <ac:spMk id="194" creationId="{977516D4-33E6-1164-68D8-DBEDEB3D9BA2}"/>
          </ac:spMkLst>
        </pc:spChg>
        <pc:spChg chg="add del mod modVis">
          <ac:chgData name="Warren Heaps" userId="b5f776f4-d2aa-4752-837a-86796e4c6c94" providerId="ADAL" clId="{775E38DF-7547-4EB7-819D-F21CF3EEFCB6}" dt="2025-10-08T13:42:08.501" v="94904"/>
          <ac:spMkLst>
            <pc:docMk/>
            <pc:sldMk cId="1037629053" sldId="316"/>
            <ac:spMk id="195" creationId="{F430EE98-3F6F-7C98-A4AD-8B17A9BF7C06}"/>
          </ac:spMkLst>
        </pc:spChg>
        <pc:spChg chg="add del mod modVis">
          <ac:chgData name="Warren Heaps" userId="b5f776f4-d2aa-4752-837a-86796e4c6c94" providerId="ADAL" clId="{775E38DF-7547-4EB7-819D-F21CF3EEFCB6}" dt="2025-10-08T13:42:15.093" v="94936"/>
          <ac:spMkLst>
            <pc:docMk/>
            <pc:sldMk cId="1037629053" sldId="316"/>
            <ac:spMk id="196" creationId="{73AF993C-1BBB-D58D-AFED-86296FF4D1B7}"/>
          </ac:spMkLst>
        </pc:spChg>
        <pc:spChg chg="add del mod modVis">
          <ac:chgData name="Warren Heaps" userId="b5f776f4-d2aa-4752-837a-86796e4c6c94" providerId="ADAL" clId="{775E38DF-7547-4EB7-819D-F21CF3EEFCB6}" dt="2025-10-08T13:42:24.323" v="94977"/>
          <ac:spMkLst>
            <pc:docMk/>
            <pc:sldMk cId="1037629053" sldId="316"/>
            <ac:spMk id="197" creationId="{545DD58F-0ED1-88D0-9D16-C3C5DE67DA24}"/>
          </ac:spMkLst>
        </pc:spChg>
        <pc:spChg chg="add del mod modVis">
          <ac:chgData name="Warren Heaps" userId="b5f776f4-d2aa-4752-837a-86796e4c6c94" providerId="ADAL" clId="{775E38DF-7547-4EB7-819D-F21CF3EEFCB6}" dt="2025-10-08T13:42:31.247" v="95015"/>
          <ac:spMkLst>
            <pc:docMk/>
            <pc:sldMk cId="1037629053" sldId="316"/>
            <ac:spMk id="198" creationId="{D8501CCA-EA01-D7D5-5401-3115643CDEDC}"/>
          </ac:spMkLst>
        </pc:spChg>
        <pc:spChg chg="add del mod modVis">
          <ac:chgData name="Warren Heaps" userId="b5f776f4-d2aa-4752-837a-86796e4c6c94" providerId="ADAL" clId="{775E38DF-7547-4EB7-819D-F21CF3EEFCB6}" dt="2025-10-08T13:42:32.053" v="95041"/>
          <ac:spMkLst>
            <pc:docMk/>
            <pc:sldMk cId="1037629053" sldId="316"/>
            <ac:spMk id="199" creationId="{2DB9CF4A-368F-1C76-F6C8-F42522B1869D}"/>
          </ac:spMkLst>
        </pc:spChg>
        <pc:spChg chg="add del mod modVis">
          <ac:chgData name="Warren Heaps" userId="b5f776f4-d2aa-4752-837a-86796e4c6c94" providerId="ADAL" clId="{775E38DF-7547-4EB7-819D-F21CF3EEFCB6}" dt="2025-10-08T13:42:36.133" v="95090"/>
          <ac:spMkLst>
            <pc:docMk/>
            <pc:sldMk cId="1037629053" sldId="316"/>
            <ac:spMk id="200" creationId="{32AE61F3-E68F-8076-4344-3AEBD5F55A4A}"/>
          </ac:spMkLst>
        </pc:spChg>
        <pc:spChg chg="add del mod modVis">
          <ac:chgData name="Warren Heaps" userId="b5f776f4-d2aa-4752-837a-86796e4c6c94" providerId="ADAL" clId="{775E38DF-7547-4EB7-819D-F21CF3EEFCB6}" dt="2025-10-08T13:42:37.938" v="95120"/>
          <ac:spMkLst>
            <pc:docMk/>
            <pc:sldMk cId="1037629053" sldId="316"/>
            <ac:spMk id="201" creationId="{317884DA-89A9-B045-9166-A3FB38871197}"/>
          </ac:spMkLst>
        </pc:spChg>
        <pc:spChg chg="add del mod modVis">
          <ac:chgData name="Warren Heaps" userId="b5f776f4-d2aa-4752-837a-86796e4c6c94" providerId="ADAL" clId="{775E38DF-7547-4EB7-819D-F21CF3EEFCB6}" dt="2025-10-08T13:43:01.506" v="95152"/>
          <ac:spMkLst>
            <pc:docMk/>
            <pc:sldMk cId="1037629053" sldId="316"/>
            <ac:spMk id="202" creationId="{46139697-9DE2-B4B7-3F2F-07769EF85766}"/>
          </ac:spMkLst>
        </pc:spChg>
        <pc:spChg chg="add del mod modVis">
          <ac:chgData name="Warren Heaps" userId="b5f776f4-d2aa-4752-837a-86796e4c6c94" providerId="ADAL" clId="{775E38DF-7547-4EB7-819D-F21CF3EEFCB6}" dt="2025-10-08T13:43:02.597" v="95180"/>
          <ac:spMkLst>
            <pc:docMk/>
            <pc:sldMk cId="1037629053" sldId="316"/>
            <ac:spMk id="203" creationId="{B1BF998C-AEE9-1BDB-FEAC-B78AA8E4E8AC}"/>
          </ac:spMkLst>
        </pc:spChg>
        <pc:spChg chg="add del mod modVis">
          <ac:chgData name="Warren Heaps" userId="b5f776f4-d2aa-4752-837a-86796e4c6c94" providerId="ADAL" clId="{775E38DF-7547-4EB7-819D-F21CF3EEFCB6}" dt="2025-10-08T13:43:04.323" v="95215"/>
          <ac:spMkLst>
            <pc:docMk/>
            <pc:sldMk cId="1037629053" sldId="316"/>
            <ac:spMk id="204" creationId="{BC524D2F-82A1-5EC2-9F23-2B657B49C5C4}"/>
          </ac:spMkLst>
        </pc:spChg>
        <pc:spChg chg="add del mod modVis">
          <ac:chgData name="Warren Heaps" userId="b5f776f4-d2aa-4752-837a-86796e4c6c94" providerId="ADAL" clId="{775E38DF-7547-4EB7-819D-F21CF3EEFCB6}" dt="2025-10-08T13:43:05.339" v="95244"/>
          <ac:spMkLst>
            <pc:docMk/>
            <pc:sldMk cId="1037629053" sldId="316"/>
            <ac:spMk id="205" creationId="{4184D6C7-A4DE-415F-463D-19A3875415AE}"/>
          </ac:spMkLst>
        </pc:spChg>
        <pc:spChg chg="add del mod modVis">
          <ac:chgData name="Warren Heaps" userId="b5f776f4-d2aa-4752-837a-86796e4c6c94" providerId="ADAL" clId="{775E38DF-7547-4EB7-819D-F21CF3EEFCB6}" dt="2025-10-08T13:43:07.429" v="95269"/>
          <ac:spMkLst>
            <pc:docMk/>
            <pc:sldMk cId="1037629053" sldId="316"/>
            <ac:spMk id="206" creationId="{3FE47025-8E63-432C-8C72-2A0EF44A8E78}"/>
          </ac:spMkLst>
        </pc:spChg>
        <pc:spChg chg="add del mod modVis">
          <ac:chgData name="Warren Heaps" userId="b5f776f4-d2aa-4752-837a-86796e4c6c94" providerId="ADAL" clId="{775E38DF-7547-4EB7-819D-F21CF3EEFCB6}" dt="2025-10-08T13:43:09.198" v="95294"/>
          <ac:spMkLst>
            <pc:docMk/>
            <pc:sldMk cId="1037629053" sldId="316"/>
            <ac:spMk id="207" creationId="{BC3DB2CF-0927-EBF8-3612-4ABE7CDB3317}"/>
          </ac:spMkLst>
        </pc:spChg>
        <pc:spChg chg="add del mod modVis">
          <ac:chgData name="Warren Heaps" userId="b5f776f4-d2aa-4752-837a-86796e4c6c94" providerId="ADAL" clId="{775E38DF-7547-4EB7-819D-F21CF3EEFCB6}" dt="2025-10-08T13:43:10.396" v="95319"/>
          <ac:spMkLst>
            <pc:docMk/>
            <pc:sldMk cId="1037629053" sldId="316"/>
            <ac:spMk id="208" creationId="{AEABA16E-B795-5B62-4D25-B86FE60DE4FD}"/>
          </ac:spMkLst>
        </pc:spChg>
        <pc:spChg chg="add del mod modVis">
          <ac:chgData name="Warren Heaps" userId="b5f776f4-d2aa-4752-837a-86796e4c6c94" providerId="ADAL" clId="{775E38DF-7547-4EB7-819D-F21CF3EEFCB6}" dt="2025-10-08T13:43:11.390" v="95344"/>
          <ac:spMkLst>
            <pc:docMk/>
            <pc:sldMk cId="1037629053" sldId="316"/>
            <ac:spMk id="209" creationId="{CF5AA9DD-1608-CD68-C437-0F78AF528EC0}"/>
          </ac:spMkLst>
        </pc:spChg>
        <pc:spChg chg="add del mod modVis">
          <ac:chgData name="Warren Heaps" userId="b5f776f4-d2aa-4752-837a-86796e4c6c94" providerId="ADAL" clId="{775E38DF-7547-4EB7-819D-F21CF3EEFCB6}" dt="2025-10-08T13:43:13.269" v="95370"/>
          <ac:spMkLst>
            <pc:docMk/>
            <pc:sldMk cId="1037629053" sldId="316"/>
            <ac:spMk id="210" creationId="{5B77BFDE-7D87-993D-E4F7-D603C6F0C304}"/>
          </ac:spMkLst>
        </pc:spChg>
        <pc:spChg chg="add del mod modVis">
          <ac:chgData name="Warren Heaps" userId="b5f776f4-d2aa-4752-837a-86796e4c6c94" providerId="ADAL" clId="{775E38DF-7547-4EB7-819D-F21CF3EEFCB6}" dt="2025-10-08T13:43:14.426" v="95395"/>
          <ac:spMkLst>
            <pc:docMk/>
            <pc:sldMk cId="1037629053" sldId="316"/>
            <ac:spMk id="211" creationId="{97D831DB-EC49-0F9B-55F9-472B4715A62C}"/>
          </ac:spMkLst>
        </pc:spChg>
        <pc:spChg chg="add del mod modVis">
          <ac:chgData name="Warren Heaps" userId="b5f776f4-d2aa-4752-837a-86796e4c6c94" providerId="ADAL" clId="{775E38DF-7547-4EB7-819D-F21CF3EEFCB6}" dt="2025-10-08T13:43:20.992" v="95438"/>
          <ac:spMkLst>
            <pc:docMk/>
            <pc:sldMk cId="1037629053" sldId="316"/>
            <ac:spMk id="212" creationId="{3335F96E-B224-5172-360F-817E2D899122}"/>
          </ac:spMkLst>
        </pc:spChg>
        <pc:spChg chg="add del mod modVis">
          <ac:chgData name="Warren Heaps" userId="b5f776f4-d2aa-4752-837a-86796e4c6c94" providerId="ADAL" clId="{775E38DF-7547-4EB7-819D-F21CF3EEFCB6}" dt="2025-10-08T13:43:22.382" v="95467"/>
          <ac:spMkLst>
            <pc:docMk/>
            <pc:sldMk cId="1037629053" sldId="316"/>
            <ac:spMk id="213" creationId="{14895713-4301-39F5-7E3B-2FB05F11C70B}"/>
          </ac:spMkLst>
        </pc:spChg>
        <pc:spChg chg="add del mod modVis">
          <ac:chgData name="Warren Heaps" userId="b5f776f4-d2aa-4752-837a-86796e4c6c94" providerId="ADAL" clId="{775E38DF-7547-4EB7-819D-F21CF3EEFCB6}" dt="2025-10-08T13:43:23.648" v="95497"/>
          <ac:spMkLst>
            <pc:docMk/>
            <pc:sldMk cId="1037629053" sldId="316"/>
            <ac:spMk id="214" creationId="{E1CC0B14-121B-3164-C3A1-1AA77206B566}"/>
          </ac:spMkLst>
        </pc:spChg>
        <pc:spChg chg="add del mod modVis">
          <ac:chgData name="Warren Heaps" userId="b5f776f4-d2aa-4752-837a-86796e4c6c94" providerId="ADAL" clId="{775E38DF-7547-4EB7-819D-F21CF3EEFCB6}" dt="2025-10-08T13:43:30.700" v="95523"/>
          <ac:spMkLst>
            <pc:docMk/>
            <pc:sldMk cId="1037629053" sldId="316"/>
            <ac:spMk id="215" creationId="{8A5B40BD-283E-ECCE-E4F7-21673845CBDB}"/>
          </ac:spMkLst>
        </pc:spChg>
        <pc:spChg chg="add del mod modVis">
          <ac:chgData name="Warren Heaps" userId="b5f776f4-d2aa-4752-837a-86796e4c6c94" providerId="ADAL" clId="{775E38DF-7547-4EB7-819D-F21CF3EEFCB6}" dt="2025-10-08T13:43:41.624" v="95563"/>
          <ac:spMkLst>
            <pc:docMk/>
            <pc:sldMk cId="1037629053" sldId="316"/>
            <ac:spMk id="216" creationId="{ECAAC8FA-4FD1-2BE6-944E-244C5AC46D09}"/>
          </ac:spMkLst>
        </pc:spChg>
        <pc:spChg chg="add del mod modVis">
          <ac:chgData name="Warren Heaps" userId="b5f776f4-d2aa-4752-837a-86796e4c6c94" providerId="ADAL" clId="{775E38DF-7547-4EB7-819D-F21CF3EEFCB6}" dt="2025-10-08T13:43:47.623" v="95597"/>
          <ac:spMkLst>
            <pc:docMk/>
            <pc:sldMk cId="1037629053" sldId="316"/>
            <ac:spMk id="217" creationId="{A27F292F-CBDC-1068-E1A2-4055F8AAB5C5}"/>
          </ac:spMkLst>
        </pc:spChg>
        <pc:spChg chg="add del mod modVis">
          <ac:chgData name="Warren Heaps" userId="b5f776f4-d2aa-4752-837a-86796e4c6c94" providerId="ADAL" clId="{775E38DF-7547-4EB7-819D-F21CF3EEFCB6}" dt="2025-10-08T13:43:48.478" v="95623"/>
          <ac:spMkLst>
            <pc:docMk/>
            <pc:sldMk cId="1037629053" sldId="316"/>
            <ac:spMk id="218" creationId="{3B5EFC9D-9882-8530-52A7-9DCD780C899B}"/>
          </ac:spMkLst>
        </pc:spChg>
        <pc:spChg chg="add del mod modVis">
          <ac:chgData name="Warren Heaps" userId="b5f776f4-d2aa-4752-837a-86796e4c6c94" providerId="ADAL" clId="{775E38DF-7547-4EB7-819D-F21CF3EEFCB6}" dt="2025-10-08T13:43:50.207" v="95649"/>
          <ac:spMkLst>
            <pc:docMk/>
            <pc:sldMk cId="1037629053" sldId="316"/>
            <ac:spMk id="219" creationId="{A6307AB1-CEB5-630B-496B-97D94F17940D}"/>
          </ac:spMkLst>
        </pc:spChg>
        <pc:spChg chg="add del mod modVis">
          <ac:chgData name="Warren Heaps" userId="b5f776f4-d2aa-4752-837a-86796e4c6c94" providerId="ADAL" clId="{775E38DF-7547-4EB7-819D-F21CF3EEFCB6}" dt="2025-10-08T13:43:51.855" v="95678"/>
          <ac:spMkLst>
            <pc:docMk/>
            <pc:sldMk cId="1037629053" sldId="316"/>
            <ac:spMk id="220" creationId="{FAE13334-55D2-0DF4-4D3F-3935F6FC1351}"/>
          </ac:spMkLst>
        </pc:spChg>
        <pc:spChg chg="add del mod modVis">
          <ac:chgData name="Warren Heaps" userId="b5f776f4-d2aa-4752-837a-86796e4c6c94" providerId="ADAL" clId="{775E38DF-7547-4EB7-819D-F21CF3EEFCB6}" dt="2025-10-08T13:43:54.763" v="95713"/>
          <ac:spMkLst>
            <pc:docMk/>
            <pc:sldMk cId="1037629053" sldId="316"/>
            <ac:spMk id="221" creationId="{BA021154-2070-4786-49FF-41F6473F5892}"/>
          </ac:spMkLst>
        </pc:spChg>
        <pc:spChg chg="add del mod modVis">
          <ac:chgData name="Warren Heaps" userId="b5f776f4-d2aa-4752-837a-86796e4c6c94" providerId="ADAL" clId="{775E38DF-7547-4EB7-819D-F21CF3EEFCB6}" dt="2025-10-08T13:43:58.702" v="95760"/>
          <ac:spMkLst>
            <pc:docMk/>
            <pc:sldMk cId="1037629053" sldId="316"/>
            <ac:spMk id="222" creationId="{46FD1270-1A68-8738-1CF1-8B1BE053F958}"/>
          </ac:spMkLst>
        </pc:spChg>
        <pc:spChg chg="add del mod modVis">
          <ac:chgData name="Warren Heaps" userId="b5f776f4-d2aa-4752-837a-86796e4c6c94" providerId="ADAL" clId="{775E38DF-7547-4EB7-819D-F21CF3EEFCB6}" dt="2025-10-08T13:44:08.091" v="95797"/>
          <ac:spMkLst>
            <pc:docMk/>
            <pc:sldMk cId="1037629053" sldId="316"/>
            <ac:spMk id="223" creationId="{10883B0A-286D-46E3-F6B9-8A8E49CA50FF}"/>
          </ac:spMkLst>
        </pc:spChg>
        <pc:spChg chg="add del mod modVis">
          <ac:chgData name="Warren Heaps" userId="b5f776f4-d2aa-4752-837a-86796e4c6c94" providerId="ADAL" clId="{775E38DF-7547-4EB7-819D-F21CF3EEFCB6}" dt="2025-10-08T13:44:13.335" v="95842"/>
          <ac:spMkLst>
            <pc:docMk/>
            <pc:sldMk cId="1037629053" sldId="316"/>
            <ac:spMk id="224" creationId="{C122323B-8628-1903-05B5-A423BBAD79D8}"/>
          </ac:spMkLst>
        </pc:spChg>
        <pc:spChg chg="add del mod modVis">
          <ac:chgData name="Warren Heaps" userId="b5f776f4-d2aa-4752-837a-86796e4c6c94" providerId="ADAL" clId="{775E38DF-7547-4EB7-819D-F21CF3EEFCB6}" dt="2025-10-08T13:44:16.892" v="95888"/>
          <ac:spMkLst>
            <pc:docMk/>
            <pc:sldMk cId="1037629053" sldId="316"/>
            <ac:spMk id="225" creationId="{CBD61BE9-406B-5D97-9FEB-D2FB3D80D4C5}"/>
          </ac:spMkLst>
        </pc:spChg>
        <pc:spChg chg="add del mod modVis">
          <ac:chgData name="Warren Heaps" userId="b5f776f4-d2aa-4752-837a-86796e4c6c94" providerId="ADAL" clId="{775E38DF-7547-4EB7-819D-F21CF3EEFCB6}" dt="2025-10-08T13:46:28.101" v="95923"/>
          <ac:spMkLst>
            <pc:docMk/>
            <pc:sldMk cId="1037629053" sldId="316"/>
            <ac:spMk id="226" creationId="{52783013-8ABF-2BAD-2220-06720FBDBA45}"/>
          </ac:spMkLst>
        </pc:spChg>
        <pc:spChg chg="add del mod modVis">
          <ac:chgData name="Warren Heaps" userId="b5f776f4-d2aa-4752-837a-86796e4c6c94" providerId="ADAL" clId="{775E38DF-7547-4EB7-819D-F21CF3EEFCB6}" dt="2025-10-08T13:46:33.346" v="95948"/>
          <ac:spMkLst>
            <pc:docMk/>
            <pc:sldMk cId="1037629053" sldId="316"/>
            <ac:spMk id="227" creationId="{32F9A434-3F14-ED24-2671-501DFDEC4419}"/>
          </ac:spMkLst>
        </pc:spChg>
        <pc:spChg chg="add del mod modVis">
          <ac:chgData name="Warren Heaps" userId="b5f776f4-d2aa-4752-837a-86796e4c6c94" providerId="ADAL" clId="{775E38DF-7547-4EB7-819D-F21CF3EEFCB6}" dt="2025-10-08T13:46:35.160" v="95974"/>
          <ac:spMkLst>
            <pc:docMk/>
            <pc:sldMk cId="1037629053" sldId="316"/>
            <ac:spMk id="228" creationId="{A7634465-190C-1492-7437-0F23A76BDF19}"/>
          </ac:spMkLst>
        </pc:spChg>
        <pc:spChg chg="add del mod modVis">
          <ac:chgData name="Warren Heaps" userId="b5f776f4-d2aa-4752-837a-86796e4c6c94" providerId="ADAL" clId="{775E38DF-7547-4EB7-819D-F21CF3EEFCB6}" dt="2025-10-08T13:46:40.003" v="96020"/>
          <ac:spMkLst>
            <pc:docMk/>
            <pc:sldMk cId="1037629053" sldId="316"/>
            <ac:spMk id="229" creationId="{7F18C4BF-3C3D-DBA0-1DE0-B855C8C3460E}"/>
          </ac:spMkLst>
        </pc:spChg>
        <pc:spChg chg="add del mod modVis">
          <ac:chgData name="Warren Heaps" userId="b5f776f4-d2aa-4752-837a-86796e4c6c94" providerId="ADAL" clId="{775E38DF-7547-4EB7-819D-F21CF3EEFCB6}" dt="2025-10-08T13:46:41.008" v="96046"/>
          <ac:spMkLst>
            <pc:docMk/>
            <pc:sldMk cId="1037629053" sldId="316"/>
            <ac:spMk id="230" creationId="{1C89B5D8-F225-1E75-837B-1D2D63BF8001}"/>
          </ac:spMkLst>
        </pc:spChg>
        <pc:spChg chg="add del mod modVis">
          <ac:chgData name="Warren Heaps" userId="b5f776f4-d2aa-4752-837a-86796e4c6c94" providerId="ADAL" clId="{775E38DF-7547-4EB7-819D-F21CF3EEFCB6}" dt="2025-10-08T13:46:43.684" v="96083"/>
          <ac:spMkLst>
            <pc:docMk/>
            <pc:sldMk cId="1037629053" sldId="316"/>
            <ac:spMk id="231" creationId="{0FFB1C44-B397-F984-D249-47D2729FB864}"/>
          </ac:spMkLst>
        </pc:spChg>
        <pc:spChg chg="add del mod modVis">
          <ac:chgData name="Warren Heaps" userId="b5f776f4-d2aa-4752-837a-86796e4c6c94" providerId="ADAL" clId="{775E38DF-7547-4EB7-819D-F21CF3EEFCB6}" dt="2025-10-08T13:46:45.303" v="96115"/>
          <ac:spMkLst>
            <pc:docMk/>
            <pc:sldMk cId="1037629053" sldId="316"/>
            <ac:spMk id="232" creationId="{69231D00-56DD-8B10-DBCB-B385A292DB1C}"/>
          </ac:spMkLst>
        </pc:spChg>
        <pc:spChg chg="add del mod modVis">
          <ac:chgData name="Warren Heaps" userId="b5f776f4-d2aa-4752-837a-86796e4c6c94" providerId="ADAL" clId="{775E38DF-7547-4EB7-819D-F21CF3EEFCB6}" dt="2025-10-08T13:46:46.735" v="96140"/>
          <ac:spMkLst>
            <pc:docMk/>
            <pc:sldMk cId="1037629053" sldId="316"/>
            <ac:spMk id="233" creationId="{EF287284-AF11-0696-6F42-C226430E8A9E}"/>
          </ac:spMkLst>
        </pc:spChg>
        <pc:spChg chg="add del mod modVis">
          <ac:chgData name="Warren Heaps" userId="b5f776f4-d2aa-4752-837a-86796e4c6c94" providerId="ADAL" clId="{775E38DF-7547-4EB7-819D-F21CF3EEFCB6}" dt="2025-10-08T13:46:47.675" v="96172"/>
          <ac:spMkLst>
            <pc:docMk/>
            <pc:sldMk cId="1037629053" sldId="316"/>
            <ac:spMk id="234" creationId="{0144529D-953C-51C6-9C91-2C5E2692C4E9}"/>
          </ac:spMkLst>
        </pc:spChg>
        <pc:spChg chg="add del mod modVis">
          <ac:chgData name="Warren Heaps" userId="b5f776f4-d2aa-4752-837a-86796e4c6c94" providerId="ADAL" clId="{775E38DF-7547-4EB7-819D-F21CF3EEFCB6}" dt="2025-10-08T13:46:50.837" v="96212"/>
          <ac:spMkLst>
            <pc:docMk/>
            <pc:sldMk cId="1037629053" sldId="316"/>
            <ac:spMk id="235" creationId="{A46BD274-E1F1-AE55-93CD-0D6DE346C336}"/>
          </ac:spMkLst>
        </pc:spChg>
        <pc:spChg chg="add del mod modVis">
          <ac:chgData name="Warren Heaps" userId="b5f776f4-d2aa-4752-837a-86796e4c6c94" providerId="ADAL" clId="{775E38DF-7547-4EB7-819D-F21CF3EEFCB6}" dt="2025-10-08T13:46:54.516" v="96255"/>
          <ac:spMkLst>
            <pc:docMk/>
            <pc:sldMk cId="1037629053" sldId="316"/>
            <ac:spMk id="236" creationId="{617A4221-AFCC-62EA-7025-D0D97CD09612}"/>
          </ac:spMkLst>
        </pc:spChg>
        <pc:spChg chg="add del mod modVis">
          <ac:chgData name="Warren Heaps" userId="b5f776f4-d2aa-4752-837a-86796e4c6c94" providerId="ADAL" clId="{775E38DF-7547-4EB7-819D-F21CF3EEFCB6}" dt="2025-10-08T13:46:57.601" v="96293"/>
          <ac:spMkLst>
            <pc:docMk/>
            <pc:sldMk cId="1037629053" sldId="316"/>
            <ac:spMk id="237" creationId="{48DC8D87-07E0-82D2-FE5F-B85BEED007E9}"/>
          </ac:spMkLst>
        </pc:spChg>
        <pc:spChg chg="add del mod modVis">
          <ac:chgData name="Warren Heaps" userId="b5f776f4-d2aa-4752-837a-86796e4c6c94" providerId="ADAL" clId="{775E38DF-7547-4EB7-819D-F21CF3EEFCB6}" dt="2025-10-08T13:46:59.715" v="96325"/>
          <ac:spMkLst>
            <pc:docMk/>
            <pc:sldMk cId="1037629053" sldId="316"/>
            <ac:spMk id="238" creationId="{265B4166-23CD-E69E-692E-89894A033CFD}"/>
          </ac:spMkLst>
        </pc:spChg>
        <pc:spChg chg="add del mod modVis">
          <ac:chgData name="Warren Heaps" userId="b5f776f4-d2aa-4752-837a-86796e4c6c94" providerId="ADAL" clId="{775E38DF-7547-4EB7-819D-F21CF3EEFCB6}" dt="2025-10-08T13:47:01.379" v="96351"/>
          <ac:spMkLst>
            <pc:docMk/>
            <pc:sldMk cId="1037629053" sldId="316"/>
            <ac:spMk id="239" creationId="{DB12EFF8-0DF4-09D9-67FB-A4F22BD0D6F4}"/>
          </ac:spMkLst>
        </pc:spChg>
        <pc:spChg chg="add del mod modVis">
          <ac:chgData name="Warren Heaps" userId="b5f776f4-d2aa-4752-837a-86796e4c6c94" providerId="ADAL" clId="{775E38DF-7547-4EB7-819D-F21CF3EEFCB6}" dt="2025-10-08T13:47:02.296" v="96376"/>
          <ac:spMkLst>
            <pc:docMk/>
            <pc:sldMk cId="1037629053" sldId="316"/>
            <ac:spMk id="240" creationId="{A79E39A1-8E62-35AD-2045-E21850298DAF}"/>
          </ac:spMkLst>
        </pc:spChg>
        <pc:spChg chg="add del mod modVis">
          <ac:chgData name="Warren Heaps" userId="b5f776f4-d2aa-4752-837a-86796e4c6c94" providerId="ADAL" clId="{775E38DF-7547-4EB7-819D-F21CF3EEFCB6}" dt="2025-10-08T13:47:17.400" v="96409"/>
          <ac:spMkLst>
            <pc:docMk/>
            <pc:sldMk cId="1037629053" sldId="316"/>
            <ac:spMk id="241" creationId="{38AC103F-93EB-C2F5-0AFA-18EEF0674046}"/>
          </ac:spMkLst>
        </pc:spChg>
        <pc:spChg chg="add del mod modVis">
          <ac:chgData name="Warren Heaps" userId="b5f776f4-d2aa-4752-837a-86796e4c6c94" providerId="ADAL" clId="{775E38DF-7547-4EB7-819D-F21CF3EEFCB6}" dt="2025-10-08T13:47:23.409" v="96455"/>
          <ac:spMkLst>
            <pc:docMk/>
            <pc:sldMk cId="1037629053" sldId="316"/>
            <ac:spMk id="242" creationId="{10E5BCCB-0189-81FB-386F-625EBEECA1D0}"/>
          </ac:spMkLst>
        </pc:spChg>
        <pc:spChg chg="add del mod modVis">
          <ac:chgData name="Warren Heaps" userId="b5f776f4-d2aa-4752-837a-86796e4c6c94" providerId="ADAL" clId="{775E38DF-7547-4EB7-819D-F21CF3EEFCB6}" dt="2025-10-08T13:47:24.842" v="96483"/>
          <ac:spMkLst>
            <pc:docMk/>
            <pc:sldMk cId="1037629053" sldId="316"/>
            <ac:spMk id="243" creationId="{5C0260B5-116A-926F-3C0A-A6068EB36BAB}"/>
          </ac:spMkLst>
        </pc:spChg>
        <pc:spChg chg="add del mod modVis">
          <ac:chgData name="Warren Heaps" userId="b5f776f4-d2aa-4752-837a-86796e4c6c94" providerId="ADAL" clId="{775E38DF-7547-4EB7-819D-F21CF3EEFCB6}" dt="2025-10-08T13:47:26.019" v="96513"/>
          <ac:spMkLst>
            <pc:docMk/>
            <pc:sldMk cId="1037629053" sldId="316"/>
            <ac:spMk id="244" creationId="{DA298B46-A5F9-5F6B-7247-0B7F2E936CF2}"/>
          </ac:spMkLst>
        </pc:spChg>
        <pc:spChg chg="add del mod modVis">
          <ac:chgData name="Warren Heaps" userId="b5f776f4-d2aa-4752-837a-86796e4c6c94" providerId="ADAL" clId="{775E38DF-7547-4EB7-819D-F21CF3EEFCB6}" dt="2025-10-08T13:47:29.945" v="96545"/>
          <ac:spMkLst>
            <pc:docMk/>
            <pc:sldMk cId="1037629053" sldId="316"/>
            <ac:spMk id="245" creationId="{E3EB9043-ABEA-5DBF-87C2-A64917703AA1}"/>
          </ac:spMkLst>
        </pc:spChg>
        <pc:spChg chg="add del mod modVis">
          <ac:chgData name="Warren Heaps" userId="b5f776f4-d2aa-4752-837a-86796e4c6c94" providerId="ADAL" clId="{775E38DF-7547-4EB7-819D-F21CF3EEFCB6}" dt="2025-10-08T13:47:31.397" v="96577"/>
          <ac:spMkLst>
            <pc:docMk/>
            <pc:sldMk cId="1037629053" sldId="316"/>
            <ac:spMk id="246" creationId="{6739AE57-1557-3C04-A864-3DB165EB2DBC}"/>
          </ac:spMkLst>
        </pc:spChg>
        <pc:spChg chg="add del mod modVis">
          <ac:chgData name="Warren Heaps" userId="b5f776f4-d2aa-4752-837a-86796e4c6c94" providerId="ADAL" clId="{775E38DF-7547-4EB7-819D-F21CF3EEFCB6}" dt="2025-10-08T13:47:39.254" v="96617"/>
          <ac:spMkLst>
            <pc:docMk/>
            <pc:sldMk cId="1037629053" sldId="316"/>
            <ac:spMk id="247" creationId="{6EB2402C-6321-BD45-FC74-06D908871339}"/>
          </ac:spMkLst>
        </pc:spChg>
        <pc:spChg chg="add del mod modVis">
          <ac:chgData name="Warren Heaps" userId="b5f776f4-d2aa-4752-837a-86796e4c6c94" providerId="ADAL" clId="{775E38DF-7547-4EB7-819D-F21CF3EEFCB6}" dt="2025-10-08T13:47:40.084" v="96642"/>
          <ac:spMkLst>
            <pc:docMk/>
            <pc:sldMk cId="1037629053" sldId="316"/>
            <ac:spMk id="248" creationId="{C9A04C6C-4CEF-DAC1-9AFE-7530B2C42A1A}"/>
          </ac:spMkLst>
        </pc:spChg>
        <pc:spChg chg="add del mod modVis">
          <ac:chgData name="Warren Heaps" userId="b5f776f4-d2aa-4752-837a-86796e4c6c94" providerId="ADAL" clId="{775E38DF-7547-4EB7-819D-F21CF3EEFCB6}" dt="2025-10-08T13:47:40.875" v="96667"/>
          <ac:spMkLst>
            <pc:docMk/>
            <pc:sldMk cId="1037629053" sldId="316"/>
            <ac:spMk id="249" creationId="{9AD51412-B6C0-A229-F8B8-A835D70E8E5B}"/>
          </ac:spMkLst>
        </pc:spChg>
        <pc:spChg chg="add del mod modVis">
          <ac:chgData name="Warren Heaps" userId="b5f776f4-d2aa-4752-837a-86796e4c6c94" providerId="ADAL" clId="{775E38DF-7547-4EB7-819D-F21CF3EEFCB6}" dt="2025-10-08T13:47:56.229" v="96697"/>
          <ac:spMkLst>
            <pc:docMk/>
            <pc:sldMk cId="1037629053" sldId="316"/>
            <ac:spMk id="250" creationId="{B2A6A45C-88DB-9B5A-FD30-A152F4C26F57}"/>
          </ac:spMkLst>
        </pc:spChg>
        <pc:spChg chg="add del mod modVis">
          <ac:chgData name="Warren Heaps" userId="b5f776f4-d2aa-4752-837a-86796e4c6c94" providerId="ADAL" clId="{775E38DF-7547-4EB7-819D-F21CF3EEFCB6}" dt="2025-10-08T13:47:58.759" v="96740"/>
          <ac:spMkLst>
            <pc:docMk/>
            <pc:sldMk cId="1037629053" sldId="316"/>
            <ac:spMk id="251" creationId="{C1932628-CB06-F52F-D87F-5AED321E11BD}"/>
          </ac:spMkLst>
        </pc:spChg>
        <pc:spChg chg="add del mod modVis">
          <ac:chgData name="Warren Heaps" userId="b5f776f4-d2aa-4752-837a-86796e4c6c94" providerId="ADAL" clId="{775E38DF-7547-4EB7-819D-F21CF3EEFCB6}" dt="2025-10-08T13:49:06.370" v="96771"/>
          <ac:spMkLst>
            <pc:docMk/>
            <pc:sldMk cId="1037629053" sldId="316"/>
            <ac:spMk id="252" creationId="{ED1490E3-0F63-2425-1F3C-9B6A3C998630}"/>
          </ac:spMkLst>
        </pc:spChg>
        <pc:spChg chg="add del mod">
          <ac:chgData name="Warren Heaps" userId="b5f776f4-d2aa-4752-837a-86796e4c6c94" providerId="ADAL" clId="{775E38DF-7547-4EB7-819D-F21CF3EEFCB6}" dt="2025-10-08T13:51:45.295" v="96952"/>
          <ac:spMkLst>
            <pc:docMk/>
            <pc:sldMk cId="1037629053" sldId="316"/>
            <ac:spMk id="253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51:41.397" v="96887"/>
          <ac:spMkLst>
            <pc:docMk/>
            <pc:sldMk cId="1037629053" sldId="316"/>
            <ac:spMk id="254" creationId="{F09A7AE7-70C7-BEF3-CDDA-F78CCD95A22C}"/>
          </ac:spMkLst>
        </pc:spChg>
        <pc:spChg chg="add del mod">
          <ac:chgData name="Warren Heaps" userId="b5f776f4-d2aa-4752-837a-86796e4c6c94" providerId="ADAL" clId="{775E38DF-7547-4EB7-819D-F21CF3EEFCB6}" dt="2025-10-08T13:51:49.475" v="97007"/>
          <ac:spMkLst>
            <pc:docMk/>
            <pc:sldMk cId="1037629053" sldId="316"/>
            <ac:spMk id="256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51:45.531" v="97004"/>
          <ac:spMkLst>
            <pc:docMk/>
            <pc:sldMk cId="1037629053" sldId="316"/>
            <ac:spMk id="257" creationId="{8DFB80C3-1FD7-EA2A-FFF1-BC73AE868627}"/>
          </ac:spMkLst>
        </pc:spChg>
        <pc:spChg chg="add del mod">
          <ac:chgData name="Warren Heaps" userId="b5f776f4-d2aa-4752-837a-86796e4c6c94" providerId="ADAL" clId="{775E38DF-7547-4EB7-819D-F21CF3EEFCB6}" dt="2025-10-08T13:52:01.927" v="97163"/>
          <ac:spMkLst>
            <pc:docMk/>
            <pc:sldMk cId="1037629053" sldId="316"/>
            <ac:spMk id="260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3:51:51.993" v="97160"/>
          <ac:spMkLst>
            <pc:docMk/>
            <pc:sldMk cId="1037629053" sldId="316"/>
            <ac:spMk id="261" creationId="{0F855ADC-754A-D751-D033-8963F0E71F5F}"/>
          </ac:spMkLst>
        </pc:spChg>
        <pc:spChg chg="add del mod modVis">
          <ac:chgData name="Warren Heaps" userId="b5f776f4-d2aa-4752-837a-86796e4c6c94" providerId="ADAL" clId="{775E38DF-7547-4EB7-819D-F21CF3EEFCB6}" dt="2025-10-08T13:52:07.281" v="97307"/>
          <ac:spMkLst>
            <pc:docMk/>
            <pc:sldMk cId="1037629053" sldId="316"/>
            <ac:spMk id="264" creationId="{BDFD7C98-E2B8-0697-B46D-23FD46B1147F}"/>
          </ac:spMkLst>
        </pc:spChg>
        <pc:spChg chg="add del mod modVis">
          <ac:chgData name="Warren Heaps" userId="b5f776f4-d2aa-4752-837a-86796e4c6c94" providerId="ADAL" clId="{775E38DF-7547-4EB7-819D-F21CF3EEFCB6}" dt="2025-10-08T13:52:49.700" v="97341"/>
          <ac:spMkLst>
            <pc:docMk/>
            <pc:sldMk cId="1037629053" sldId="316"/>
            <ac:spMk id="266" creationId="{B4339A39-CB45-DC92-EC29-97059D86F0E8}"/>
          </ac:spMkLst>
        </pc:spChg>
        <pc:spChg chg="add del mod modVis">
          <ac:chgData name="Warren Heaps" userId="b5f776f4-d2aa-4752-837a-86796e4c6c94" providerId="ADAL" clId="{775E38DF-7547-4EB7-819D-F21CF3EEFCB6}" dt="2025-10-08T13:52:51.185" v="97381"/>
          <ac:spMkLst>
            <pc:docMk/>
            <pc:sldMk cId="1037629053" sldId="316"/>
            <ac:spMk id="267" creationId="{379898B1-E256-6DAF-1274-A6EEE6C31A9C}"/>
          </ac:spMkLst>
        </pc:spChg>
        <pc:spChg chg="add del mod modVis">
          <ac:chgData name="Warren Heaps" userId="b5f776f4-d2aa-4752-837a-86796e4c6c94" providerId="ADAL" clId="{775E38DF-7547-4EB7-819D-F21CF3EEFCB6}" dt="2025-10-08T13:52:52.627" v="97418"/>
          <ac:spMkLst>
            <pc:docMk/>
            <pc:sldMk cId="1037629053" sldId="316"/>
            <ac:spMk id="268" creationId="{0537B951-BCD4-A7FA-FE86-6000486D17E9}"/>
          </ac:spMkLst>
        </pc:spChg>
        <pc:graphicFrameChg chg="add mod ord modVis">
          <ac:chgData name="Warren Heaps" userId="b5f776f4-d2aa-4752-837a-86796e4c6c94" providerId="ADAL" clId="{775E38DF-7547-4EB7-819D-F21CF3EEFCB6}" dt="2025-10-08T13:52:58.254" v="97430"/>
          <ac:graphicFrameMkLst>
            <pc:docMk/>
            <pc:sldMk cId="1037629053" sldId="316"/>
            <ac:graphicFrameMk id="5" creationId="{F322D07D-FCE6-FCB7-33C7-53EA1AB6334B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2:44.956" v="90591"/>
          <ac:graphicFrameMkLst>
            <pc:docMk/>
            <pc:sldMk cId="1037629053" sldId="316"/>
            <ac:graphicFrameMk id="97" creationId="{550599CC-7649-A2AA-9C50-DACCD5E68E08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2:59.561" v="90876"/>
          <ac:graphicFrameMkLst>
            <pc:docMk/>
            <pc:sldMk cId="1037629053" sldId="316"/>
            <ac:graphicFrameMk id="114" creationId="{2BA880C2-F270-6DD7-F936-DE194B3BE3E7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3:11.271" v="90916"/>
          <ac:graphicFrameMkLst>
            <pc:docMk/>
            <pc:sldMk cId="1037629053" sldId="316"/>
            <ac:graphicFrameMk id="116" creationId="{306D074F-C200-D339-8A4B-03FA88226289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3:12.213" v="90956"/>
          <ac:graphicFrameMkLst>
            <pc:docMk/>
            <pc:sldMk cId="1037629053" sldId="316"/>
            <ac:graphicFrameMk id="117" creationId="{0C099B2D-DAA4-5814-BC9B-BCC7621E5241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3:14.690" v="90986"/>
          <ac:graphicFrameMkLst>
            <pc:docMk/>
            <pc:sldMk cId="1037629053" sldId="316"/>
            <ac:graphicFrameMk id="118" creationId="{4A758D7A-1502-82CE-4B3E-5C09AFC8219F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3:25.775" v="91065"/>
          <ac:graphicFrameMkLst>
            <pc:docMk/>
            <pc:sldMk cId="1037629053" sldId="316"/>
            <ac:graphicFrameMk id="119" creationId="{D62003D2-1338-F19A-C68A-D3D4CDE173C6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3:43.071" v="91129"/>
          <ac:graphicFrameMkLst>
            <pc:docMk/>
            <pc:sldMk cId="1037629053" sldId="316"/>
            <ac:graphicFrameMk id="121" creationId="{857C21C2-6DF9-4F2E-0161-B24AAB6A5385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3:46.236" v="91223"/>
          <ac:graphicFrameMkLst>
            <pc:docMk/>
            <pc:sldMk cId="1037629053" sldId="316"/>
            <ac:graphicFrameMk id="122" creationId="{4F590AEE-C27B-AF68-8EB8-D862D31C81DE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4:03.266" v="91398"/>
          <ac:graphicFrameMkLst>
            <pc:docMk/>
            <pc:sldMk cId="1037629053" sldId="316"/>
            <ac:graphicFrameMk id="123" creationId="{38B675F7-7298-78CA-CE0A-AEBA9A9F2961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5:10.961" v="91703"/>
          <ac:graphicFrameMkLst>
            <pc:docMk/>
            <pc:sldMk cId="1037629053" sldId="316"/>
            <ac:graphicFrameMk id="125" creationId="{ED18A968-593B-C66C-5C01-E29CEA3CF883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5:22.343" v="91881"/>
          <ac:graphicFrameMkLst>
            <pc:docMk/>
            <pc:sldMk cId="1037629053" sldId="316"/>
            <ac:graphicFrameMk id="127" creationId="{36FE309A-76D5-D0B3-374C-A6755543F608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5:30.417" v="91985"/>
          <ac:graphicFrameMkLst>
            <pc:docMk/>
            <pc:sldMk cId="1037629053" sldId="316"/>
            <ac:graphicFrameMk id="129" creationId="{4ECBF016-A0B4-A95B-3E08-DF9C09862DD4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5:33.114" v="92019"/>
          <ac:graphicFrameMkLst>
            <pc:docMk/>
            <pc:sldMk cId="1037629053" sldId="316"/>
            <ac:graphicFrameMk id="132" creationId="{0C1FF00E-7C26-8D3B-A735-CA40FFF8BB92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5:41.850" v="92099"/>
          <ac:graphicFrameMkLst>
            <pc:docMk/>
            <pc:sldMk cId="1037629053" sldId="316"/>
            <ac:graphicFrameMk id="133" creationId="{F3EF50E4-8789-1D16-EFFD-51A5CDB60A25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5:54.213" v="92163"/>
          <ac:graphicFrameMkLst>
            <pc:docMk/>
            <pc:sldMk cId="1037629053" sldId="316"/>
            <ac:graphicFrameMk id="135" creationId="{35F8BC89-B3E3-1A7D-9C54-D3F7206E93A6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8:44.210" v="93355"/>
          <ac:graphicFrameMkLst>
            <pc:docMk/>
            <pc:sldMk cId="1037629053" sldId="316"/>
            <ac:graphicFrameMk id="136" creationId="{6136FC1A-7BB6-3EEC-8342-5DF4A5B07CE7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8:55.067" v="93511"/>
          <ac:graphicFrameMkLst>
            <pc:docMk/>
            <pc:sldMk cId="1037629053" sldId="316"/>
            <ac:graphicFrameMk id="170" creationId="{AF4E76E2-DA5C-C841-685D-D1E52A02561C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9:07.971" v="93631"/>
          <ac:graphicFrameMkLst>
            <pc:docMk/>
            <pc:sldMk cId="1037629053" sldId="316"/>
            <ac:graphicFrameMk id="176" creationId="{899648C6-E6CE-8FE7-0241-9BF9DEAB1D8D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9:54.159" v="94357"/>
          <ac:graphicFrameMkLst>
            <pc:docMk/>
            <pc:sldMk cId="1037629053" sldId="316"/>
            <ac:graphicFrameMk id="178" creationId="{EB5B5C9E-7061-48DA-C55A-D54EFAB1EFBD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9:43.111" v="94042" actId="1076"/>
          <ac:graphicFrameMkLst>
            <pc:docMk/>
            <pc:sldMk cId="1037629053" sldId="316"/>
            <ac:graphicFrameMk id="179" creationId="{45AB3369-DFBC-302E-4C09-68C1CA8AFB8B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39:43.030" v="94015" actId="1076"/>
          <ac:graphicFrameMkLst>
            <pc:docMk/>
            <pc:sldMk cId="1037629053" sldId="316"/>
            <ac:graphicFrameMk id="180" creationId="{2C6AFA8E-4196-EF1C-5D3C-FB4C890A6DC4}"/>
          </ac:graphicFrameMkLst>
        </pc:graphicFrameChg>
        <pc:graphicFrameChg chg="add mod ord">
          <ac:chgData name="Warren Heaps" userId="b5f776f4-d2aa-4752-837a-86796e4c6c94" providerId="ADAL" clId="{775E38DF-7547-4EB7-819D-F21CF3EEFCB6}" dt="2025-10-08T13:39:42.954" v="93988" actId="1076"/>
          <ac:graphicFrameMkLst>
            <pc:docMk/>
            <pc:sldMk cId="1037629053" sldId="316"/>
            <ac:graphicFrameMk id="181" creationId="{5036339B-7C27-FDFB-3F25-FCFF56D5FD97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40:13.726" v="94515"/>
          <ac:graphicFrameMkLst>
            <pc:docMk/>
            <pc:sldMk cId="1037629053" sldId="316"/>
            <ac:graphicFrameMk id="183" creationId="{869964C9-147C-C574-9F22-0589EAAF9A2D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40:22.906" v="94635"/>
          <ac:graphicFrameMkLst>
            <pc:docMk/>
            <pc:sldMk cId="1037629053" sldId="316"/>
            <ac:graphicFrameMk id="189" creationId="{30FD44FD-2D13-61B7-36AF-D51ECF77F68D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40:37.937" v="94724"/>
          <ac:graphicFrameMkLst>
            <pc:docMk/>
            <pc:sldMk cId="1037629053" sldId="316"/>
            <ac:graphicFrameMk id="191" creationId="{E0A1ABB0-8060-3D90-9BD6-4609FBD3FC8D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51:41.259" v="96849"/>
          <ac:graphicFrameMkLst>
            <pc:docMk/>
            <pc:sldMk cId="1037629053" sldId="316"/>
            <ac:graphicFrameMk id="192" creationId="{059C4FE4-9857-FC10-BDCC-31064CAE07DF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51:45.361" v="96966"/>
          <ac:graphicFrameMkLst>
            <pc:docMk/>
            <pc:sldMk cId="1037629053" sldId="316"/>
            <ac:graphicFrameMk id="255" creationId="{902839E3-A4EF-57E9-FA7C-C36FE9CB41FE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51:49.484" v="97009"/>
          <ac:graphicFrameMkLst>
            <pc:docMk/>
            <pc:sldMk cId="1037629053" sldId="316"/>
            <ac:graphicFrameMk id="258" creationId="{46411768-8DB6-69A4-A880-15D716FDEEE1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51:51.859" v="97122"/>
          <ac:graphicFrameMkLst>
            <pc:docMk/>
            <pc:sldMk cId="1037629053" sldId="316"/>
            <ac:graphicFrameMk id="259" creationId="{BFF7C127-F257-899C-A307-A3FE4CADF61E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52:01.934" v="97165"/>
          <ac:graphicFrameMkLst>
            <pc:docMk/>
            <pc:sldMk cId="1037629053" sldId="316"/>
            <ac:graphicFrameMk id="262" creationId="{343EFA00-D808-AF3E-D2E0-69E0F3FF7BEE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13:52:07.184" v="97270"/>
          <ac:graphicFrameMkLst>
            <pc:docMk/>
            <pc:sldMk cId="1037629053" sldId="316"/>
            <ac:graphicFrameMk id="263" creationId="{A84F55F5-A4E4-784B-F508-0E7925AC0990}"/>
          </ac:graphicFrameMkLst>
        </pc:graphicFrameChg>
        <pc:graphicFrameChg chg="add mod ord">
          <ac:chgData name="Warren Heaps" userId="b5f776f4-d2aa-4752-837a-86796e4c6c94" providerId="ADAL" clId="{775E38DF-7547-4EB7-819D-F21CF3EEFCB6}" dt="2025-10-08T13:52:07.242" v="97279"/>
          <ac:graphicFrameMkLst>
            <pc:docMk/>
            <pc:sldMk cId="1037629053" sldId="316"/>
            <ac:graphicFrameMk id="265" creationId="{43C9F0B0-D851-F125-1F5A-7DA2D339ECF4}"/>
          </ac:graphicFrameMkLst>
        </pc:graphicFrameChg>
        <pc:picChg chg="add del mod">
          <ac:chgData name="Warren Heaps" userId="b5f776f4-d2aa-4752-837a-86796e4c6c94" providerId="ADAL" clId="{775E38DF-7547-4EB7-819D-F21CF3EEFCB6}" dt="2025-10-08T13:10:23.352" v="87393" actId="478"/>
          <ac:picMkLst>
            <pc:docMk/>
            <pc:sldMk cId="1037629053" sldId="316"/>
            <ac:picMk id="6" creationId="{9F15221E-AE08-A7BB-051A-CB129E4ACC62}"/>
          </ac:picMkLst>
        </pc:picChg>
        <pc:picChg chg="add del mod ord">
          <ac:chgData name="Warren Heaps" userId="b5f776f4-d2aa-4752-837a-86796e4c6c94" providerId="ADAL" clId="{775E38DF-7547-4EB7-819D-F21CF3EEFCB6}" dt="2025-10-08T13:31:16.724" v="89947" actId="478"/>
          <ac:picMkLst>
            <pc:docMk/>
            <pc:sldMk cId="1037629053" sldId="316"/>
            <ac:picMk id="8" creationId="{38BEEC35-E420-AC5F-87AB-C9742478E42E}"/>
          </ac:picMkLst>
        </pc:picChg>
        <pc:picChg chg="add del mod ord">
          <ac:chgData name="Warren Heaps" userId="b5f776f4-d2aa-4752-837a-86796e4c6c94" providerId="ADAL" clId="{775E38DF-7547-4EB7-819D-F21CF3EEFCB6}" dt="2025-10-08T13:31:16.724" v="89947" actId="478"/>
          <ac:picMkLst>
            <pc:docMk/>
            <pc:sldMk cId="1037629053" sldId="316"/>
            <ac:picMk id="10" creationId="{3115527E-D6CA-DF0B-C61C-666A1E60F14D}"/>
          </ac:picMkLst>
        </pc:picChg>
        <pc:picChg chg="add del mod">
          <ac:chgData name="Warren Heaps" userId="b5f776f4-d2aa-4752-837a-86796e4c6c94" providerId="ADAL" clId="{775E38DF-7547-4EB7-819D-F21CF3EEFCB6}" dt="2025-10-08T13:31:16.724" v="89947" actId="478"/>
          <ac:picMkLst>
            <pc:docMk/>
            <pc:sldMk cId="1037629053" sldId="316"/>
            <ac:picMk id="72" creationId="{A90CE6EE-97E8-688D-308C-647F957F17BD}"/>
          </ac:picMkLst>
        </pc:picChg>
        <pc:cxnChg chg="add del mod ord">
          <ac:chgData name="Warren Heaps" userId="b5f776f4-d2aa-4752-837a-86796e4c6c94" providerId="ADAL" clId="{775E38DF-7547-4EB7-819D-F21CF3EEFCB6}" dt="2025-10-08T13:39:52.834" v="94068"/>
          <ac:cxnSpMkLst>
            <pc:docMk/>
            <pc:sldMk cId="1037629053" sldId="316"/>
            <ac:cxnSpMk id="173" creationId="{BBA0F3B3-B689-D0D1-DD12-CFF8DBA105B2}"/>
          </ac:cxnSpMkLst>
        </pc:cxnChg>
        <pc:cxnChg chg="add del mod ord">
          <ac:chgData name="Warren Heaps" userId="b5f776f4-d2aa-4752-837a-86796e4c6c94" providerId="ADAL" clId="{775E38DF-7547-4EB7-819D-F21CF3EEFCB6}" dt="2025-10-08T13:39:52.828" v="94066"/>
          <ac:cxnSpMkLst>
            <pc:docMk/>
            <pc:sldMk cId="1037629053" sldId="316"/>
            <ac:cxnSpMk id="174" creationId="{8F0BE8DE-D568-AF2F-FAD0-C25A1E3D9F2F}"/>
          </ac:cxnSpMkLst>
        </pc:cxnChg>
        <pc:cxnChg chg="add del mod ord">
          <ac:chgData name="Warren Heaps" userId="b5f776f4-d2aa-4752-837a-86796e4c6c94" providerId="ADAL" clId="{775E38DF-7547-4EB7-819D-F21CF3EEFCB6}" dt="2025-10-08T13:39:52.822" v="94064"/>
          <ac:cxnSpMkLst>
            <pc:docMk/>
            <pc:sldMk cId="1037629053" sldId="316"/>
            <ac:cxnSpMk id="175" creationId="{ED60F17C-39D1-A076-A71E-FA2C27855CA7}"/>
          </ac:cxnSpMkLst>
        </pc:cxnChg>
        <pc:cxnChg chg="add mod ord">
          <ac:chgData name="Warren Heaps" userId="b5f776f4-d2aa-4752-837a-86796e4c6c94" providerId="ADAL" clId="{775E38DF-7547-4EB7-819D-F21CF3EEFCB6}" dt="2025-10-08T13:52:07.244" v="97281"/>
          <ac:cxnSpMkLst>
            <pc:docMk/>
            <pc:sldMk cId="1037629053" sldId="316"/>
            <ac:cxnSpMk id="186" creationId="{77CF8352-B098-3B42-0DB3-033A797ED678}"/>
          </ac:cxnSpMkLst>
        </pc:cxnChg>
        <pc:cxnChg chg="add mod ord">
          <ac:chgData name="Warren Heaps" userId="b5f776f4-d2aa-4752-837a-86796e4c6c94" providerId="ADAL" clId="{775E38DF-7547-4EB7-819D-F21CF3EEFCB6}" dt="2025-10-08T13:52:07.247" v="97283"/>
          <ac:cxnSpMkLst>
            <pc:docMk/>
            <pc:sldMk cId="1037629053" sldId="316"/>
            <ac:cxnSpMk id="187" creationId="{7FDB06DC-B113-94EF-2E35-D6BC8D49035A}"/>
          </ac:cxnSpMkLst>
        </pc:cxnChg>
        <pc:cxnChg chg="add mod ord">
          <ac:chgData name="Warren Heaps" userId="b5f776f4-d2aa-4752-837a-86796e4c6c94" providerId="ADAL" clId="{775E38DF-7547-4EB7-819D-F21CF3EEFCB6}" dt="2025-10-08T13:52:07.250" v="97285"/>
          <ac:cxnSpMkLst>
            <pc:docMk/>
            <pc:sldMk cId="1037629053" sldId="316"/>
            <ac:cxnSpMk id="188" creationId="{DEBA6868-BABF-BEA0-1CF8-F32F1120F03D}"/>
          </ac:cxnSpMkLst>
        </pc:cxnChg>
      </pc:sldChg>
      <pc:sldChg chg="addSp delSp modSp del mod modClrScheme chgLayout">
        <pc:chgData name="Warren Heaps" userId="b5f776f4-d2aa-4752-837a-86796e4c6c94" providerId="ADAL" clId="{775E38DF-7547-4EB7-819D-F21CF3EEFCB6}" dt="2025-10-08T13:55:27.174" v="97433" actId="47"/>
        <pc:sldMkLst>
          <pc:docMk/>
          <pc:sldMk cId="1979896691" sldId="318"/>
        </pc:sldMkLst>
      </pc:sldChg>
      <pc:sldChg chg="addSp delSp modSp del mod modClrScheme chgLayout">
        <pc:chgData name="Warren Heaps" userId="b5f776f4-d2aa-4752-837a-86796e4c6c94" providerId="ADAL" clId="{775E38DF-7547-4EB7-819D-F21CF3EEFCB6}" dt="2025-10-08T13:55:24.606" v="97432" actId="47"/>
        <pc:sldMkLst>
          <pc:docMk/>
          <pc:sldMk cId="687460393" sldId="319"/>
        </pc:sldMkLst>
      </pc:sldChg>
      <pc:sldChg chg="addSp delSp modSp del mod modClrScheme chgLayout modNotes">
        <pc:chgData name="Warren Heaps" userId="b5f776f4-d2aa-4752-837a-86796e4c6c94" providerId="ADAL" clId="{775E38DF-7547-4EB7-819D-F21CF3EEFCB6}" dt="2025-10-08T03:23:30.183" v="84576" actId="47"/>
        <pc:sldMkLst>
          <pc:docMk/>
          <pc:sldMk cId="4023222640" sldId="320"/>
        </pc:sldMkLst>
      </pc:sldChg>
      <pc:sldChg chg="addSp delSp modSp mod modClrScheme chgLayout">
        <pc:chgData name="Warren Heaps" userId="b5f776f4-d2aa-4752-837a-86796e4c6c94" providerId="ADAL" clId="{775E38DF-7547-4EB7-819D-F21CF3EEFCB6}" dt="2025-10-08T01:59:28.525" v="84378" actId="478"/>
        <pc:sldMkLst>
          <pc:docMk/>
          <pc:sldMk cId="898244017" sldId="321"/>
        </pc:sldMkLst>
        <pc:spChg chg="add del mod modVis">
          <ac:chgData name="Warren Heaps" userId="b5f776f4-d2aa-4752-837a-86796e4c6c94" providerId="ADAL" clId="{775E38DF-7547-4EB7-819D-F21CF3EEFCB6}" dt="2025-10-08T01:55:03.547" v="82412"/>
          <ac:spMkLst>
            <pc:docMk/>
            <pc:sldMk cId="898244017" sldId="321"/>
            <ac:spMk id="2" creationId="{29293CDE-D899-7A91-B466-B33A1E87CEB1}"/>
          </ac:spMkLst>
        </pc:spChg>
        <pc:spChg chg="add mod">
          <ac:chgData name="Warren Heaps" userId="b5f776f4-d2aa-4752-837a-86796e4c6c94" providerId="ADAL" clId="{775E38DF-7547-4EB7-819D-F21CF3EEFCB6}" dt="2025-10-08T01:59:23.681" v="84373"/>
          <ac:spMkLst>
            <pc:docMk/>
            <pc:sldMk cId="898244017" sldId="321"/>
            <ac:spMk id="4" creationId="{885371E8-7632-3C4A-ADA5-1A7187B6BE78}"/>
          </ac:spMkLst>
        </pc:spChg>
        <pc:spChg chg="mod ord">
          <ac:chgData name="Warren Heaps" userId="b5f776f4-d2aa-4752-837a-86796e4c6c94" providerId="ADAL" clId="{775E38DF-7547-4EB7-819D-F21CF3EEFCB6}" dt="2025-10-08T01:58:05.279" v="83808"/>
          <ac:spMkLst>
            <pc:docMk/>
            <pc:sldMk cId="898244017" sldId="321"/>
            <ac:spMk id="5" creationId="{00000000-0000-0000-0000-000000000000}"/>
          </ac:spMkLst>
        </pc:spChg>
        <pc:spChg chg="del mod ord">
          <ac:chgData name="Warren Heaps" userId="b5f776f4-d2aa-4752-837a-86796e4c6c94" providerId="ADAL" clId="{775E38DF-7547-4EB7-819D-F21CF3EEFCB6}" dt="2025-10-08T01:59:28.525" v="84378" actId="478"/>
          <ac:spMkLst>
            <pc:docMk/>
            <pc:sldMk cId="898244017" sldId="321"/>
            <ac:spMk id="6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01:58:05.285" v="83813"/>
          <ac:spMkLst>
            <pc:docMk/>
            <pc:sldMk cId="898244017" sldId="321"/>
            <ac:spMk id="7" creationId="{0E256014-DCCA-7CD5-AC69-80EA329D74C8}"/>
          </ac:spMkLst>
        </pc:spChg>
        <pc:spChg chg="add del mod modVis">
          <ac:chgData name="Warren Heaps" userId="b5f776f4-d2aa-4752-837a-86796e4c6c94" providerId="ADAL" clId="{775E38DF-7547-4EB7-819D-F21CF3EEFCB6}" dt="2025-10-08T01:58:18.508" v="83847"/>
          <ac:spMkLst>
            <pc:docMk/>
            <pc:sldMk cId="898244017" sldId="321"/>
            <ac:spMk id="8" creationId="{C5F9F96B-B49D-CEAE-83C7-126C33761647}"/>
          </ac:spMkLst>
        </pc:spChg>
        <pc:spChg chg="add del mod modVis">
          <ac:chgData name="Warren Heaps" userId="b5f776f4-d2aa-4752-837a-86796e4c6c94" providerId="ADAL" clId="{775E38DF-7547-4EB7-819D-F21CF3EEFCB6}" dt="2025-10-08T01:58:27.162" v="83885"/>
          <ac:spMkLst>
            <pc:docMk/>
            <pc:sldMk cId="898244017" sldId="321"/>
            <ac:spMk id="9" creationId="{8ACCE432-6F34-D47A-8416-78753B53478E}"/>
          </ac:spMkLst>
        </pc:spChg>
        <pc:spChg chg="add del mod modVis">
          <ac:chgData name="Warren Heaps" userId="b5f776f4-d2aa-4752-837a-86796e4c6c94" providerId="ADAL" clId="{775E38DF-7547-4EB7-819D-F21CF3EEFCB6}" dt="2025-10-08T01:58:30.149" v="83923"/>
          <ac:spMkLst>
            <pc:docMk/>
            <pc:sldMk cId="898244017" sldId="321"/>
            <ac:spMk id="10" creationId="{F7B767D7-D173-B6D4-98F8-622B7B20CDA0}"/>
          </ac:spMkLst>
        </pc:spChg>
        <pc:spChg chg="add del mod modVis">
          <ac:chgData name="Warren Heaps" userId="b5f776f4-d2aa-4752-837a-86796e4c6c94" providerId="ADAL" clId="{775E38DF-7547-4EB7-819D-F21CF3EEFCB6}" dt="2025-10-08T01:58:34.791" v="83955"/>
          <ac:spMkLst>
            <pc:docMk/>
            <pc:sldMk cId="898244017" sldId="321"/>
            <ac:spMk id="11" creationId="{8F2818FC-7612-0CDB-EFE1-ABDBD471B06D}"/>
          </ac:spMkLst>
        </pc:spChg>
        <pc:spChg chg="add del mod modVis">
          <ac:chgData name="Warren Heaps" userId="b5f776f4-d2aa-4752-837a-86796e4c6c94" providerId="ADAL" clId="{775E38DF-7547-4EB7-819D-F21CF3EEFCB6}" dt="2025-10-08T01:58:36.143" v="83981"/>
          <ac:spMkLst>
            <pc:docMk/>
            <pc:sldMk cId="898244017" sldId="321"/>
            <ac:spMk id="12" creationId="{F29C606B-61DD-4721-17B4-9CB672E19A18}"/>
          </ac:spMkLst>
        </pc:spChg>
        <pc:spChg chg="add del mod modVis">
          <ac:chgData name="Warren Heaps" userId="b5f776f4-d2aa-4752-837a-86796e4c6c94" providerId="ADAL" clId="{775E38DF-7547-4EB7-819D-F21CF3EEFCB6}" dt="2025-10-08T01:58:38.985" v="84016"/>
          <ac:spMkLst>
            <pc:docMk/>
            <pc:sldMk cId="898244017" sldId="321"/>
            <ac:spMk id="13" creationId="{6E217CD2-582A-1060-EF4E-A582B9E7695A}"/>
          </ac:spMkLst>
        </pc:spChg>
        <pc:spChg chg="add del mod modVis">
          <ac:chgData name="Warren Heaps" userId="b5f776f4-d2aa-4752-837a-86796e4c6c94" providerId="ADAL" clId="{775E38DF-7547-4EB7-819D-F21CF3EEFCB6}" dt="2025-10-08T01:58:40.644" v="84047"/>
          <ac:spMkLst>
            <pc:docMk/>
            <pc:sldMk cId="898244017" sldId="321"/>
            <ac:spMk id="14" creationId="{77E8E7F0-7EF5-A341-E962-1B1992B29BBC}"/>
          </ac:spMkLst>
        </pc:spChg>
        <pc:spChg chg="add del mod modVis">
          <ac:chgData name="Warren Heaps" userId="b5f776f4-d2aa-4752-837a-86796e4c6c94" providerId="ADAL" clId="{775E38DF-7547-4EB7-819D-F21CF3EEFCB6}" dt="2025-10-08T01:58:42.385" v="84073"/>
          <ac:spMkLst>
            <pc:docMk/>
            <pc:sldMk cId="898244017" sldId="321"/>
            <ac:spMk id="15" creationId="{249097C0-A57E-DDC2-0CB4-EAD054BE53D4}"/>
          </ac:spMkLst>
        </pc:spChg>
        <pc:spChg chg="add del mod modVis">
          <ac:chgData name="Warren Heaps" userId="b5f776f4-d2aa-4752-837a-86796e4c6c94" providerId="ADAL" clId="{775E38DF-7547-4EB7-819D-F21CF3EEFCB6}" dt="2025-10-08T01:58:46.379" v="84114"/>
          <ac:spMkLst>
            <pc:docMk/>
            <pc:sldMk cId="898244017" sldId="321"/>
            <ac:spMk id="16" creationId="{2D527621-84D9-2E7C-35D3-22A1918E5D60}"/>
          </ac:spMkLst>
        </pc:spChg>
        <pc:spChg chg="add del mod modVis">
          <ac:chgData name="Warren Heaps" userId="b5f776f4-d2aa-4752-837a-86796e4c6c94" providerId="ADAL" clId="{775E38DF-7547-4EB7-819D-F21CF3EEFCB6}" dt="2025-10-08T01:58:55.042" v="84140"/>
          <ac:spMkLst>
            <pc:docMk/>
            <pc:sldMk cId="898244017" sldId="321"/>
            <ac:spMk id="17" creationId="{0DC42DC3-5FE6-4257-9C55-7E0FEEDCAF45}"/>
          </ac:spMkLst>
        </pc:spChg>
        <pc:spChg chg="add del mod modVis">
          <ac:chgData name="Warren Heaps" userId="b5f776f4-d2aa-4752-837a-86796e4c6c94" providerId="ADAL" clId="{775E38DF-7547-4EB7-819D-F21CF3EEFCB6}" dt="2025-10-08T01:58:57.476" v="84166"/>
          <ac:spMkLst>
            <pc:docMk/>
            <pc:sldMk cId="898244017" sldId="321"/>
            <ac:spMk id="18" creationId="{18183443-3A3E-B7A7-523E-B78446EB7355}"/>
          </ac:spMkLst>
        </pc:spChg>
        <pc:spChg chg="add del mod modVis">
          <ac:chgData name="Warren Heaps" userId="b5f776f4-d2aa-4752-837a-86796e4c6c94" providerId="ADAL" clId="{775E38DF-7547-4EB7-819D-F21CF3EEFCB6}" dt="2025-10-08T01:58:59.038" v="84195"/>
          <ac:spMkLst>
            <pc:docMk/>
            <pc:sldMk cId="898244017" sldId="321"/>
            <ac:spMk id="19" creationId="{D555987F-1F26-9A91-3B26-B0DA9E17B408}"/>
          </ac:spMkLst>
        </pc:spChg>
        <pc:spChg chg="add del mod modVis">
          <ac:chgData name="Warren Heaps" userId="b5f776f4-d2aa-4752-837a-86796e4c6c94" providerId="ADAL" clId="{775E38DF-7547-4EB7-819D-F21CF3EEFCB6}" dt="2025-10-08T01:59:04.751" v="84250"/>
          <ac:spMkLst>
            <pc:docMk/>
            <pc:sldMk cId="898244017" sldId="321"/>
            <ac:spMk id="20" creationId="{D83E6DC0-8BBE-94D4-3A6F-C4F9A0FCB1C1}"/>
          </ac:spMkLst>
        </pc:spChg>
        <pc:spChg chg="add del mod modVis">
          <ac:chgData name="Warren Heaps" userId="b5f776f4-d2aa-4752-837a-86796e4c6c94" providerId="ADAL" clId="{775E38DF-7547-4EB7-819D-F21CF3EEFCB6}" dt="2025-10-08T01:59:06.569" v="84282"/>
          <ac:spMkLst>
            <pc:docMk/>
            <pc:sldMk cId="898244017" sldId="321"/>
            <ac:spMk id="21" creationId="{5BED1AD6-2599-2CE7-B5C0-B4420E9A9CB8}"/>
          </ac:spMkLst>
        </pc:spChg>
        <pc:spChg chg="add del mod modVis">
          <ac:chgData name="Warren Heaps" userId="b5f776f4-d2aa-4752-837a-86796e4c6c94" providerId="ADAL" clId="{775E38DF-7547-4EB7-819D-F21CF3EEFCB6}" dt="2025-10-08T01:59:08.627" v="84315"/>
          <ac:spMkLst>
            <pc:docMk/>
            <pc:sldMk cId="898244017" sldId="321"/>
            <ac:spMk id="22" creationId="{701893C6-169E-4851-21E5-FF2F16F09F9A}"/>
          </ac:spMkLst>
        </pc:spChg>
        <pc:spChg chg="add del mod modVis">
          <ac:chgData name="Warren Heaps" userId="b5f776f4-d2aa-4752-837a-86796e4c6c94" providerId="ADAL" clId="{775E38DF-7547-4EB7-819D-F21CF3EEFCB6}" dt="2025-10-08T01:59:10.384" v="84349"/>
          <ac:spMkLst>
            <pc:docMk/>
            <pc:sldMk cId="898244017" sldId="321"/>
            <ac:spMk id="23" creationId="{A5DA6346-0B67-91AE-4F12-59B00ECF460F}"/>
          </ac:spMkLst>
        </pc:spChg>
        <pc:spChg chg="add del mod modVis">
          <ac:chgData name="Warren Heaps" userId="b5f776f4-d2aa-4752-837a-86796e4c6c94" providerId="ADAL" clId="{775E38DF-7547-4EB7-819D-F21CF3EEFCB6}" dt="2025-10-08T01:59:23.687" v="84375"/>
          <ac:spMkLst>
            <pc:docMk/>
            <pc:sldMk cId="898244017" sldId="321"/>
            <ac:spMk id="24" creationId="{9236A4D8-DF87-D3F9-3C86-2E1AB0E9DFFE}"/>
          </ac:spMkLst>
        </pc:spChg>
        <pc:graphicFrameChg chg="add mod ord modVis">
          <ac:chgData name="Warren Heaps" userId="b5f776f4-d2aa-4752-837a-86796e4c6c94" providerId="ADAL" clId="{775E38DF-7547-4EB7-819D-F21CF3EEFCB6}" dt="2025-10-08T01:59:23.692" v="84377"/>
          <ac:graphicFrameMkLst>
            <pc:docMk/>
            <pc:sldMk cId="898244017" sldId="321"/>
            <ac:graphicFrameMk id="3" creationId="{FCEBBB7B-5489-6D51-356F-33F86D103162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02:02:11.205" v="84575"/>
        <pc:sldMkLst>
          <pc:docMk/>
          <pc:sldMk cId="412470113" sldId="322"/>
        </pc:sldMkLst>
        <pc:spChg chg="add del mod modVis">
          <ac:chgData name="Warren Heaps" userId="b5f776f4-d2aa-4752-837a-86796e4c6c94" providerId="ADAL" clId="{775E38DF-7547-4EB7-819D-F21CF3EEFCB6}" dt="2025-10-08T02:00:09.859" v="84400"/>
          <ac:spMkLst>
            <pc:docMk/>
            <pc:sldMk cId="412470113" sldId="322"/>
            <ac:spMk id="2" creationId="{6773AF15-B99E-5CE7-8E7E-2BE3ED9686FA}"/>
          </ac:spMkLst>
        </pc:spChg>
        <pc:spChg chg="add mod">
          <ac:chgData name="Warren Heaps" userId="b5f776f4-d2aa-4752-837a-86796e4c6c94" providerId="ADAL" clId="{775E38DF-7547-4EB7-819D-F21CF3EEFCB6}" dt="2025-10-08T02:02:11.199" v="84573"/>
          <ac:spMkLst>
            <pc:docMk/>
            <pc:sldMk cId="412470113" sldId="322"/>
            <ac:spMk id="4" creationId="{885371E8-7632-3C4A-ADA5-1A7187B6BE78}"/>
          </ac:spMkLst>
        </pc:spChg>
        <pc:spChg chg="mod ord">
          <ac:chgData name="Warren Heaps" userId="b5f776f4-d2aa-4752-837a-86796e4c6c94" providerId="ADAL" clId="{775E38DF-7547-4EB7-819D-F21CF3EEFCB6}" dt="2025-10-08T02:00:25.186" v="84482"/>
          <ac:spMkLst>
            <pc:docMk/>
            <pc:sldMk cId="412470113" sldId="322"/>
            <ac:spMk id="5" creationId="{00000000-0000-0000-0000-000000000000}"/>
          </ac:spMkLst>
        </pc:spChg>
        <pc:spChg chg="del mod ord">
          <ac:chgData name="Warren Heaps" userId="b5f776f4-d2aa-4752-837a-86796e4c6c94" providerId="ADAL" clId="{775E38DF-7547-4EB7-819D-F21CF3EEFCB6}" dt="2025-10-08T02:01:59.733" v="84561" actId="478"/>
          <ac:spMkLst>
            <pc:docMk/>
            <pc:sldMk cId="412470113" sldId="322"/>
            <ac:spMk id="6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02:00:25.192" v="84487"/>
          <ac:spMkLst>
            <pc:docMk/>
            <pc:sldMk cId="412470113" sldId="322"/>
            <ac:spMk id="7" creationId="{3C818075-8ACA-5C3D-74F4-B7EE2778EC9B}"/>
          </ac:spMkLst>
        </pc:spChg>
        <pc:spChg chg="add del mod modVis">
          <ac:chgData name="Warren Heaps" userId="b5f776f4-d2aa-4752-837a-86796e4c6c94" providerId="ADAL" clId="{775E38DF-7547-4EB7-819D-F21CF3EEFCB6}" dt="2025-10-08T02:00:51.045" v="84519"/>
          <ac:spMkLst>
            <pc:docMk/>
            <pc:sldMk cId="412470113" sldId="322"/>
            <ac:spMk id="8" creationId="{A1564098-82F5-A5BD-A155-5EA0DD1EF8DE}"/>
          </ac:spMkLst>
        </pc:spChg>
        <pc:spChg chg="add del mod modVis">
          <ac:chgData name="Warren Heaps" userId="b5f776f4-d2aa-4752-837a-86796e4c6c94" providerId="ADAL" clId="{775E38DF-7547-4EB7-819D-F21CF3EEFCB6}" dt="2025-10-08T02:00:57.708" v="84544"/>
          <ac:spMkLst>
            <pc:docMk/>
            <pc:sldMk cId="412470113" sldId="322"/>
            <ac:spMk id="9" creationId="{94EECB57-CE4A-5146-8409-C2DCD00453DF}"/>
          </ac:spMkLst>
        </pc:spChg>
        <pc:graphicFrameChg chg="add mod ord modVis">
          <ac:chgData name="Warren Heaps" userId="b5f776f4-d2aa-4752-837a-86796e4c6c94" providerId="ADAL" clId="{775E38DF-7547-4EB7-819D-F21CF3EEFCB6}" dt="2025-10-08T02:02:11.205" v="84575"/>
          <ac:graphicFrameMkLst>
            <pc:docMk/>
            <pc:sldMk cId="412470113" sldId="322"/>
            <ac:graphicFrameMk id="3" creationId="{E56C35F8-D597-EB6E-F29A-A7EDE10EAE21}"/>
          </ac:graphicFrameMkLst>
        </pc:graphicFrameChg>
      </pc:sldChg>
      <pc:sldChg chg="addSp delSp modSp mod modClrScheme chgLayout">
        <pc:chgData name="Warren Heaps" userId="b5f776f4-d2aa-4752-837a-86796e4c6c94" providerId="ADAL" clId="{775E38DF-7547-4EB7-819D-F21CF3EEFCB6}" dt="2025-10-08T12:56:30.404" v="84793"/>
        <pc:sldMkLst>
          <pc:docMk/>
          <pc:sldMk cId="2967135436" sldId="323"/>
        </pc:sldMkLst>
        <pc:spChg chg="add del mod modVis">
          <ac:chgData name="Warren Heaps" userId="b5f776f4-d2aa-4752-837a-86796e4c6c94" providerId="ADAL" clId="{775E38DF-7547-4EB7-819D-F21CF3EEFCB6}" dt="2025-10-08T12:55:55.149" v="84599"/>
          <ac:spMkLst>
            <pc:docMk/>
            <pc:sldMk cId="2967135436" sldId="323"/>
            <ac:spMk id="2" creationId="{AFB2680C-2309-EA97-BA84-47A63BC260E7}"/>
          </ac:spMkLst>
        </pc:spChg>
        <pc:spChg chg="add mod">
          <ac:chgData name="Warren Heaps" userId="b5f776f4-d2aa-4752-837a-86796e4c6c94" providerId="ADAL" clId="{775E38DF-7547-4EB7-819D-F21CF3EEFCB6}" dt="2025-10-08T12:56:30.298" v="84770"/>
          <ac:spMkLst>
            <pc:docMk/>
            <pc:sldMk cId="2967135436" sldId="323"/>
            <ac:spMk id="4" creationId="{885371E8-7632-3C4A-ADA5-1A7187B6BE78}"/>
          </ac:spMkLst>
        </pc:spChg>
        <pc:spChg chg="mod ord">
          <ac:chgData name="Warren Heaps" userId="b5f776f4-d2aa-4752-837a-86796e4c6c94" providerId="ADAL" clId="{775E38DF-7547-4EB7-819D-F21CF3EEFCB6}" dt="2025-10-08T12:56:10.474" v="84682"/>
          <ac:spMkLst>
            <pc:docMk/>
            <pc:sldMk cId="2967135436" sldId="323"/>
            <ac:spMk id="5" creationId="{00000000-0000-0000-0000-000000000000}"/>
          </ac:spMkLst>
        </pc:spChg>
        <pc:spChg chg="del mod ord">
          <ac:chgData name="Warren Heaps" userId="b5f776f4-d2aa-4752-837a-86796e4c6c94" providerId="ADAL" clId="{775E38DF-7547-4EB7-819D-F21CF3EEFCB6}" dt="2025-10-08T12:56:03.557" v="84603" actId="478"/>
          <ac:spMkLst>
            <pc:docMk/>
            <pc:sldMk cId="2967135436" sldId="323"/>
            <ac:spMk id="6" creationId="{00000000-0000-0000-0000-000000000000}"/>
          </ac:spMkLst>
        </pc:spChg>
        <pc:spChg chg="add del mod modVis">
          <ac:chgData name="Warren Heaps" userId="b5f776f4-d2aa-4752-837a-86796e4c6c94" providerId="ADAL" clId="{775E38DF-7547-4EB7-819D-F21CF3EEFCB6}" dt="2025-10-08T12:56:10.478" v="84685"/>
          <ac:spMkLst>
            <pc:docMk/>
            <pc:sldMk cId="2967135436" sldId="323"/>
            <ac:spMk id="7" creationId="{6CAF5278-B93B-43E8-278B-836D392E45A5}"/>
          </ac:spMkLst>
        </pc:spChg>
        <pc:spChg chg="add del mod modVis">
          <ac:chgData name="Warren Heaps" userId="b5f776f4-d2aa-4752-837a-86796e4c6c94" providerId="ADAL" clId="{775E38DF-7547-4EB7-819D-F21CF3EEFCB6}" dt="2025-10-08T12:56:20.809" v="84716"/>
          <ac:spMkLst>
            <pc:docMk/>
            <pc:sldMk cId="2967135436" sldId="323"/>
            <ac:spMk id="8" creationId="{88F35A9E-62A4-51E6-8401-2046724D429E}"/>
          </ac:spMkLst>
        </pc:spChg>
        <pc:spChg chg="add del mod modVis">
          <ac:chgData name="Warren Heaps" userId="b5f776f4-d2aa-4752-837a-86796e4c6c94" providerId="ADAL" clId="{775E38DF-7547-4EB7-819D-F21CF3EEFCB6}" dt="2025-10-08T12:56:25.188" v="84741"/>
          <ac:spMkLst>
            <pc:docMk/>
            <pc:sldMk cId="2967135436" sldId="323"/>
            <ac:spMk id="9" creationId="{49D4A95A-29F3-9AF4-2D22-876C4E9F015D}"/>
          </ac:spMkLst>
        </pc:spChg>
        <pc:spChg chg="add del mod modVis">
          <ac:chgData name="Warren Heaps" userId="b5f776f4-d2aa-4752-837a-86796e4c6c94" providerId="ADAL" clId="{775E38DF-7547-4EB7-819D-F21CF3EEFCB6}" dt="2025-10-08T12:56:27.951" v="84766"/>
          <ac:spMkLst>
            <pc:docMk/>
            <pc:sldMk cId="2967135436" sldId="323"/>
            <ac:spMk id="10" creationId="{D90D4C22-C35A-84F6-5C20-E682C7D4E179}"/>
          </ac:spMkLst>
        </pc:spChg>
        <pc:spChg chg="add del mod modVis">
          <ac:chgData name="Warren Heaps" userId="b5f776f4-d2aa-4752-837a-86796e4c6c94" providerId="ADAL" clId="{775E38DF-7547-4EB7-819D-F21CF3EEFCB6}" dt="2025-10-08T12:56:30.402" v="84791"/>
          <ac:spMkLst>
            <pc:docMk/>
            <pc:sldMk cId="2967135436" sldId="323"/>
            <ac:spMk id="11" creationId="{997B1897-CE92-23DF-0311-CC15F38B289C}"/>
          </ac:spMkLst>
        </pc:spChg>
        <pc:graphicFrameChg chg="add mod ord modVis">
          <ac:chgData name="Warren Heaps" userId="b5f776f4-d2aa-4752-837a-86796e4c6c94" providerId="ADAL" clId="{775E38DF-7547-4EB7-819D-F21CF3EEFCB6}" dt="2025-10-08T12:56:30.404" v="84793"/>
          <ac:graphicFrameMkLst>
            <pc:docMk/>
            <pc:sldMk cId="2967135436" sldId="323"/>
            <ac:graphicFrameMk id="3" creationId="{90544EB8-EDFC-92BA-1808-70AABA1ABB81}"/>
          </ac:graphicFrameMkLst>
        </pc:graphicFrameChg>
      </pc:sldChg>
      <pc:sldChg chg="addSp delSp modSp mod ord modClrScheme chgLayout">
        <pc:chgData name="Warren Heaps" userId="b5f776f4-d2aa-4752-837a-86796e4c6c94" providerId="ADAL" clId="{775E38DF-7547-4EB7-819D-F21CF3EEFCB6}" dt="2025-10-08T16:11:36.120" v="106032"/>
        <pc:sldMkLst>
          <pc:docMk/>
          <pc:sldMk cId="2601363587" sldId="324"/>
        </pc:sldMkLst>
        <pc:spChg chg="add del mod modVis">
          <ac:chgData name="Warren Heaps" userId="b5f776f4-d2aa-4752-837a-86796e4c6c94" providerId="ADAL" clId="{775E38DF-7547-4EB7-819D-F21CF3EEFCB6}" dt="2025-10-08T16:11:34.745" v="106004"/>
          <ac:spMkLst>
            <pc:docMk/>
            <pc:sldMk cId="2601363587" sldId="324"/>
            <ac:spMk id="2" creationId="{B4BDECC8-6071-A14F-B1C2-203A64A92119}"/>
          </ac:spMkLst>
        </pc:spChg>
        <pc:spChg chg="add del mod modVis">
          <ac:chgData name="Warren Heaps" userId="b5f776f4-d2aa-4752-837a-86796e4c6c94" providerId="ADAL" clId="{775E38DF-7547-4EB7-819D-F21CF3EEFCB6}" dt="2025-10-08T16:11:36.116" v="106030"/>
          <ac:spMkLst>
            <pc:docMk/>
            <pc:sldMk cId="2601363587" sldId="324"/>
            <ac:spMk id="4" creationId="{68B91C69-3E6B-89D4-262D-A81891F3290E}"/>
          </ac:spMkLst>
        </pc:spChg>
        <pc:spChg chg="mod ord">
          <ac:chgData name="Warren Heaps" userId="b5f776f4-d2aa-4752-837a-86796e4c6c94" providerId="ADAL" clId="{775E38DF-7547-4EB7-819D-F21CF3EEFCB6}" dt="2025-10-08T16:11:36.052" v="106008" actId="948"/>
          <ac:spMkLst>
            <pc:docMk/>
            <pc:sldMk cId="2601363587" sldId="324"/>
            <ac:spMk id="5" creationId="{00000000-0000-0000-0000-000000000000}"/>
          </ac:spMkLst>
        </pc:spChg>
        <pc:graphicFrameChg chg="add mod ord modVis">
          <ac:chgData name="Warren Heaps" userId="b5f776f4-d2aa-4752-837a-86796e4c6c94" providerId="ADAL" clId="{775E38DF-7547-4EB7-819D-F21CF3EEFCB6}" dt="2025-10-08T16:11:36.120" v="106032"/>
          <ac:graphicFrameMkLst>
            <pc:docMk/>
            <pc:sldMk cId="2601363587" sldId="324"/>
            <ac:graphicFrameMk id="3" creationId="{C3AA10E9-0EBA-87CF-F66E-0B36D73116F4}"/>
          </ac:graphicFrameMkLst>
        </pc:graphicFrameChg>
      </pc:sldChg>
      <pc:sldChg chg="addSp delSp modSp new mod ord">
        <pc:chgData name="Warren Heaps" userId="b5f776f4-d2aa-4752-837a-86796e4c6c94" providerId="ADAL" clId="{775E38DF-7547-4EB7-819D-F21CF3EEFCB6}" dt="2025-10-07T03:48:21.580" v="63659"/>
        <pc:sldMkLst>
          <pc:docMk/>
          <pc:sldMk cId="3062237416" sldId="325"/>
        </pc:sldMkLst>
        <pc:spChg chg="mod ord">
          <ac:chgData name="Warren Heaps" userId="b5f776f4-d2aa-4752-837a-86796e4c6c94" providerId="ADAL" clId="{775E38DF-7547-4EB7-819D-F21CF3EEFCB6}" dt="2025-10-06T23:33:52.733" v="45207"/>
          <ac:spMkLst>
            <pc:docMk/>
            <pc:sldMk cId="3062237416" sldId="325"/>
            <ac:spMk id="2" creationId="{4FC483EB-BA70-B3CA-214F-27D85CA10904}"/>
          </ac:spMkLst>
        </pc:spChg>
        <pc:spChg chg="add mod">
          <ac:chgData name="Warren Heaps" userId="b5f776f4-d2aa-4752-837a-86796e4c6c94" providerId="ADAL" clId="{775E38DF-7547-4EB7-819D-F21CF3EEFCB6}" dt="2025-10-06T23:33:52.785" v="45251"/>
          <ac:spMkLst>
            <pc:docMk/>
            <pc:sldMk cId="3062237416" sldId="325"/>
            <ac:spMk id="13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86" v="45252"/>
          <ac:spMkLst>
            <pc:docMk/>
            <pc:sldMk cId="3062237416" sldId="325"/>
            <ac:spMk id="14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87" v="45253"/>
          <ac:spMkLst>
            <pc:docMk/>
            <pc:sldMk cId="3062237416" sldId="325"/>
            <ac:spMk id="15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88" v="45254"/>
          <ac:spMkLst>
            <pc:docMk/>
            <pc:sldMk cId="3062237416" sldId="325"/>
            <ac:spMk id="16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89" v="45255"/>
          <ac:spMkLst>
            <pc:docMk/>
            <pc:sldMk cId="3062237416" sldId="325"/>
            <ac:spMk id="17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74" v="45241"/>
          <ac:spMkLst>
            <pc:docMk/>
            <pc:sldMk cId="3062237416" sldId="325"/>
            <ac:spMk id="18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91" v="45257"/>
          <ac:spMkLst>
            <pc:docMk/>
            <pc:sldMk cId="3062237416" sldId="325"/>
            <ac:spMk id="19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93" v="45258"/>
          <ac:spMkLst>
            <pc:docMk/>
            <pc:sldMk cId="3062237416" sldId="325"/>
            <ac:spMk id="20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94" v="45259"/>
          <ac:spMkLst>
            <pc:docMk/>
            <pc:sldMk cId="3062237416" sldId="325"/>
            <ac:spMk id="21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95" v="45260"/>
          <ac:spMkLst>
            <pc:docMk/>
            <pc:sldMk cId="3062237416" sldId="325"/>
            <ac:spMk id="23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58" v="45228"/>
          <ac:spMkLst>
            <pc:docMk/>
            <pc:sldMk cId="3062237416" sldId="325"/>
            <ac:spMk id="24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60" v="45229"/>
          <ac:spMkLst>
            <pc:docMk/>
            <pc:sldMk cId="3062237416" sldId="325"/>
            <ac:spMk id="25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61" v="45230"/>
          <ac:spMkLst>
            <pc:docMk/>
            <pc:sldMk cId="3062237416" sldId="325"/>
            <ac:spMk id="26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62" v="45231"/>
          <ac:spMkLst>
            <pc:docMk/>
            <pc:sldMk cId="3062237416" sldId="325"/>
            <ac:spMk id="27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63" v="45232"/>
          <ac:spMkLst>
            <pc:docMk/>
            <pc:sldMk cId="3062237416" sldId="325"/>
            <ac:spMk id="28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66" v="45235"/>
          <ac:spMkLst>
            <pc:docMk/>
            <pc:sldMk cId="3062237416" sldId="325"/>
            <ac:spMk id="29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67" v="45236"/>
          <ac:spMkLst>
            <pc:docMk/>
            <pc:sldMk cId="3062237416" sldId="325"/>
            <ac:spMk id="30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69" v="45237"/>
          <ac:spMkLst>
            <pc:docMk/>
            <pc:sldMk cId="3062237416" sldId="325"/>
            <ac:spMk id="31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70" v="45238"/>
          <ac:spMkLst>
            <pc:docMk/>
            <pc:sldMk cId="3062237416" sldId="325"/>
            <ac:spMk id="32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71" v="45239"/>
          <ac:spMkLst>
            <pc:docMk/>
            <pc:sldMk cId="3062237416" sldId="325"/>
            <ac:spMk id="33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73" v="45240"/>
          <ac:spMkLst>
            <pc:docMk/>
            <pc:sldMk cId="3062237416" sldId="325"/>
            <ac:spMk id="34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90" v="45256"/>
          <ac:spMkLst>
            <pc:docMk/>
            <pc:sldMk cId="3062237416" sldId="325"/>
            <ac:spMk id="36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75" v="45242"/>
          <ac:spMkLst>
            <pc:docMk/>
            <pc:sldMk cId="3062237416" sldId="325"/>
            <ac:spMk id="37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76" v="45243"/>
          <ac:spMkLst>
            <pc:docMk/>
            <pc:sldMk cId="3062237416" sldId="325"/>
            <ac:spMk id="38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77" v="45244"/>
          <ac:spMkLst>
            <pc:docMk/>
            <pc:sldMk cId="3062237416" sldId="325"/>
            <ac:spMk id="39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78" v="45245"/>
          <ac:spMkLst>
            <pc:docMk/>
            <pc:sldMk cId="3062237416" sldId="325"/>
            <ac:spMk id="40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79" v="45246"/>
          <ac:spMkLst>
            <pc:docMk/>
            <pc:sldMk cId="3062237416" sldId="325"/>
            <ac:spMk id="41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80" v="45247"/>
          <ac:spMkLst>
            <pc:docMk/>
            <pc:sldMk cId="3062237416" sldId="325"/>
            <ac:spMk id="42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81" v="45248"/>
          <ac:spMkLst>
            <pc:docMk/>
            <pc:sldMk cId="3062237416" sldId="325"/>
            <ac:spMk id="43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82" v="45249"/>
          <ac:spMkLst>
            <pc:docMk/>
            <pc:sldMk cId="3062237416" sldId="325"/>
            <ac:spMk id="44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783" v="45250"/>
          <ac:spMkLst>
            <pc:docMk/>
            <pc:sldMk cId="3062237416" sldId="325"/>
            <ac:spMk id="45" creationId="{885371E8-7632-3C4A-ADA5-1A7187B6BE78}"/>
          </ac:spMkLst>
        </pc:spChg>
        <pc:spChg chg="add mod ord">
          <ac:chgData name="Warren Heaps" userId="b5f776f4-d2aa-4752-837a-86796e4c6c94" providerId="ADAL" clId="{775E38DF-7547-4EB7-819D-F21CF3EEFCB6}" dt="2025-10-06T23:33:52.765" v="45234"/>
          <ac:spMkLst>
            <pc:docMk/>
            <pc:sldMk cId="3062237416" sldId="325"/>
            <ac:spMk id="122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6:32.724" v="45380"/>
          <ac:spMkLst>
            <pc:docMk/>
            <pc:sldMk cId="3062237416" sldId="325"/>
            <ac:spMk id="211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804" v="45268"/>
          <ac:spMkLst>
            <pc:docMk/>
            <pc:sldMk cId="3062237416" sldId="325"/>
            <ac:spMk id="235" creationId="{8F7224C2-46E0-2ACA-ADC2-FF9BE2651551}"/>
          </ac:spMkLst>
        </pc:spChg>
        <pc:spChg chg="add mod ord">
          <ac:chgData name="Warren Heaps" userId="b5f776f4-d2aa-4752-837a-86796e4c6c94" providerId="ADAL" clId="{775E38DF-7547-4EB7-819D-F21CF3EEFCB6}" dt="2025-10-06T23:33:52.797" v="45262"/>
          <ac:spMkLst>
            <pc:docMk/>
            <pc:sldMk cId="3062237416" sldId="325"/>
            <ac:spMk id="285" creationId="{885371E8-7632-3C4A-ADA5-1A7187B6BE78}"/>
          </ac:spMkLst>
        </pc:spChg>
        <pc:spChg chg="add mod ord">
          <ac:chgData name="Warren Heaps" userId="b5f776f4-d2aa-4752-837a-86796e4c6c94" providerId="ADAL" clId="{775E38DF-7547-4EB7-819D-F21CF3EEFCB6}" dt="2025-10-06T23:33:52.799" v="45264"/>
          <ac:spMkLst>
            <pc:docMk/>
            <pc:sldMk cId="3062237416" sldId="325"/>
            <ac:spMk id="293" creationId="{885371E8-7632-3C4A-ADA5-1A7187B6BE78}"/>
          </ac:spMkLst>
        </pc:spChg>
        <pc:spChg chg="add mod ord">
          <ac:chgData name="Warren Heaps" userId="b5f776f4-d2aa-4752-837a-86796e4c6c94" providerId="ADAL" clId="{775E38DF-7547-4EB7-819D-F21CF3EEFCB6}" dt="2025-10-06T23:33:52.801" v="45266"/>
          <ac:spMkLst>
            <pc:docMk/>
            <pc:sldMk cId="3062237416" sldId="325"/>
            <ac:spMk id="310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3:52.805" v="45269"/>
          <ac:spMkLst>
            <pc:docMk/>
            <pc:sldMk cId="3062237416" sldId="325"/>
            <ac:spMk id="320" creationId="{32B3AF7E-5E81-FF1D-C84C-05E857277699}"/>
          </ac:spMkLst>
        </pc:spChg>
        <pc:spChg chg="add mod">
          <ac:chgData name="Warren Heaps" userId="b5f776f4-d2aa-4752-837a-86796e4c6c94" providerId="ADAL" clId="{775E38DF-7547-4EB7-819D-F21CF3EEFCB6}" dt="2025-10-06T23:35:30.963" v="45281"/>
          <ac:spMkLst>
            <pc:docMk/>
            <pc:sldMk cId="3062237416" sldId="325"/>
            <ac:spMk id="330" creationId="{CC294AE1-C22B-1346-6662-FD6AFC18E56D}"/>
          </ac:spMkLst>
        </pc:spChg>
        <pc:spChg chg="add mod">
          <ac:chgData name="Warren Heaps" userId="b5f776f4-d2aa-4752-837a-86796e4c6c94" providerId="ADAL" clId="{775E38DF-7547-4EB7-819D-F21CF3EEFCB6}" dt="2025-10-06T23:36:15.466" v="45345"/>
          <ac:spMkLst>
            <pc:docMk/>
            <pc:sldMk cId="3062237416" sldId="325"/>
            <ac:spMk id="333" creationId="{885371E8-7632-3C4A-ADA5-1A7187B6BE78}"/>
          </ac:spMkLst>
        </pc:spChg>
        <pc:spChg chg="add mod ord">
          <ac:chgData name="Warren Heaps" userId="b5f776f4-d2aa-4752-837a-86796e4c6c94" providerId="ADAL" clId="{775E38DF-7547-4EB7-819D-F21CF3EEFCB6}" dt="2025-10-06T23:33:52.731" v="45205"/>
          <ac:spMkLst>
            <pc:docMk/>
            <pc:sldMk cId="3062237416" sldId="325"/>
            <ac:spMk id="348" creationId="{74DE1B71-83F1-9913-2977-EBC6A925B5BC}"/>
          </ac:spMkLst>
        </pc:spChg>
        <pc:spChg chg="add mod">
          <ac:chgData name="Warren Heaps" userId="b5f776f4-d2aa-4752-837a-86796e4c6c94" providerId="ADAL" clId="{775E38DF-7547-4EB7-819D-F21CF3EEFCB6}" dt="2025-10-06T23:36:26.131" v="45374"/>
          <ac:spMkLst>
            <pc:docMk/>
            <pc:sldMk cId="3062237416" sldId="325"/>
            <ac:spMk id="349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6:32.742" v="45387"/>
          <ac:spMkLst>
            <pc:docMk/>
            <pc:sldMk cId="3062237416" sldId="325"/>
            <ac:spMk id="375" creationId="{AA18C371-4E45-B05C-0181-0A5D4C297DB7}"/>
          </ac:spMkLst>
        </pc:spChg>
        <pc:graphicFrameChg chg="add mod ord modVis">
          <ac:chgData name="Warren Heaps" userId="b5f776f4-d2aa-4752-837a-86796e4c6c94" providerId="ADAL" clId="{775E38DF-7547-4EB7-819D-F21CF3EEFCB6}" dt="2025-10-06T23:36:32.746" v="45389"/>
          <ac:graphicFrameMkLst>
            <pc:docMk/>
            <pc:sldMk cId="3062237416" sldId="325"/>
            <ac:graphicFrameMk id="7" creationId="{5E7B9A0A-F449-F1AE-ADA1-9C7AD4A7D125}"/>
          </ac:graphicFrameMkLst>
        </pc:graphicFrameChg>
        <pc:graphicFrameChg chg="add mod ord">
          <ac:chgData name="Warren Heaps" userId="b5f776f4-d2aa-4752-837a-86796e4c6c94" providerId="ADAL" clId="{775E38DF-7547-4EB7-819D-F21CF3EEFCB6}" dt="2025-10-06T23:33:52.735" v="45209"/>
          <ac:graphicFrameMkLst>
            <pc:docMk/>
            <pc:sldMk cId="3062237416" sldId="325"/>
            <ac:graphicFrameMk id="389" creationId="{CD2AE7A8-499A-175E-38A5-66F57B058355}"/>
          </ac:graphicFrameMkLst>
        </pc:graphicFrameChg>
        <pc:cxnChg chg="add mod ord">
          <ac:chgData name="Warren Heaps" userId="b5f776f4-d2aa-4752-837a-86796e4c6c94" providerId="ADAL" clId="{775E38DF-7547-4EB7-819D-F21CF3EEFCB6}" dt="2025-10-06T23:33:52.740" v="45213"/>
          <ac:cxnSpMkLst>
            <pc:docMk/>
            <pc:sldMk cId="3062237416" sldId="325"/>
            <ac:cxnSpMk id="287" creationId="{E0083629-C338-2882-DD00-DC82C4DB5A23}"/>
          </ac:cxnSpMkLst>
        </pc:cxnChg>
        <pc:cxnChg chg="add mod ord">
          <ac:chgData name="Warren Heaps" userId="b5f776f4-d2aa-4752-837a-86796e4c6c94" providerId="ADAL" clId="{775E38DF-7547-4EB7-819D-F21CF3EEFCB6}" dt="2025-10-06T23:33:52.737" v="45211"/>
          <ac:cxnSpMkLst>
            <pc:docMk/>
            <pc:sldMk cId="3062237416" sldId="325"/>
            <ac:cxnSpMk id="288" creationId="{ED555496-C4EA-57C5-208E-E09D68470AB8}"/>
          </ac:cxnSpMkLst>
        </pc:cxnChg>
        <pc:cxnChg chg="add mod ord">
          <ac:chgData name="Warren Heaps" userId="b5f776f4-d2aa-4752-837a-86796e4c6c94" providerId="ADAL" clId="{775E38DF-7547-4EB7-819D-F21CF3EEFCB6}" dt="2025-10-06T23:33:52.743" v="45215"/>
          <ac:cxnSpMkLst>
            <pc:docMk/>
            <pc:sldMk cId="3062237416" sldId="325"/>
            <ac:cxnSpMk id="289" creationId="{C6638310-21B7-33E0-AB7B-F80B5F92A763}"/>
          </ac:cxnSpMkLst>
        </pc:cxnChg>
        <pc:cxnChg chg="add mod ord">
          <ac:chgData name="Warren Heaps" userId="b5f776f4-d2aa-4752-837a-86796e4c6c94" providerId="ADAL" clId="{775E38DF-7547-4EB7-819D-F21CF3EEFCB6}" dt="2025-10-06T23:33:52.745" v="45217"/>
          <ac:cxnSpMkLst>
            <pc:docMk/>
            <pc:sldMk cId="3062237416" sldId="325"/>
            <ac:cxnSpMk id="295" creationId="{B1FA626C-E20B-EE24-DE87-F9472F4500B1}"/>
          </ac:cxnSpMkLst>
        </pc:cxnChg>
        <pc:cxnChg chg="add mod ord">
          <ac:chgData name="Warren Heaps" userId="b5f776f4-d2aa-4752-837a-86796e4c6c94" providerId="ADAL" clId="{775E38DF-7547-4EB7-819D-F21CF3EEFCB6}" dt="2025-10-06T23:33:52.748" v="45219"/>
          <ac:cxnSpMkLst>
            <pc:docMk/>
            <pc:sldMk cId="3062237416" sldId="325"/>
            <ac:cxnSpMk id="302" creationId="{15B4E51E-9032-028F-A668-CAE44E6C5CC4}"/>
          </ac:cxnSpMkLst>
        </pc:cxnChg>
        <pc:cxnChg chg="add mod ord">
          <ac:chgData name="Warren Heaps" userId="b5f776f4-d2aa-4752-837a-86796e4c6c94" providerId="ADAL" clId="{775E38DF-7547-4EB7-819D-F21CF3EEFCB6}" dt="2025-10-06T23:33:52.750" v="45221"/>
          <ac:cxnSpMkLst>
            <pc:docMk/>
            <pc:sldMk cId="3062237416" sldId="325"/>
            <ac:cxnSpMk id="303" creationId="{D40E15B0-095E-B927-5E8A-AFBA80FA4616}"/>
          </ac:cxnSpMkLst>
        </pc:cxnChg>
        <pc:cxnChg chg="add mod ord">
          <ac:chgData name="Warren Heaps" userId="b5f776f4-d2aa-4752-837a-86796e4c6c94" providerId="ADAL" clId="{775E38DF-7547-4EB7-819D-F21CF3EEFCB6}" dt="2025-10-06T23:33:52.753" v="45223"/>
          <ac:cxnSpMkLst>
            <pc:docMk/>
            <pc:sldMk cId="3062237416" sldId="325"/>
            <ac:cxnSpMk id="312" creationId="{A216A085-F7DA-88EE-62E5-D9B0A2F24239}"/>
          </ac:cxnSpMkLst>
        </pc:cxnChg>
        <pc:cxnChg chg="add mod ord">
          <ac:chgData name="Warren Heaps" userId="b5f776f4-d2aa-4752-837a-86796e4c6c94" providerId="ADAL" clId="{775E38DF-7547-4EB7-819D-F21CF3EEFCB6}" dt="2025-10-06T23:33:52.755" v="45225"/>
          <ac:cxnSpMkLst>
            <pc:docMk/>
            <pc:sldMk cId="3062237416" sldId="325"/>
            <ac:cxnSpMk id="315" creationId="{24EE6406-8BAE-F452-88BD-D02C7FB06AD9}"/>
          </ac:cxnSpMkLst>
        </pc:cxnChg>
        <pc:cxnChg chg="add mod ord">
          <ac:chgData name="Warren Heaps" userId="b5f776f4-d2aa-4752-837a-86796e4c6c94" providerId="ADAL" clId="{775E38DF-7547-4EB7-819D-F21CF3EEFCB6}" dt="2025-10-06T23:33:52.757" v="45227"/>
          <ac:cxnSpMkLst>
            <pc:docMk/>
            <pc:sldMk cId="3062237416" sldId="325"/>
            <ac:cxnSpMk id="316" creationId="{31DE826E-3396-2172-1F3F-87182B65957D}"/>
          </ac:cxnSpMkLst>
        </pc:cxnChg>
      </pc:sldChg>
      <pc:sldChg chg="addSp delSp modSp add mod ord">
        <pc:chgData name="Warren Heaps" userId="b5f776f4-d2aa-4752-837a-86796e4c6c94" providerId="ADAL" clId="{775E38DF-7547-4EB7-819D-F21CF3EEFCB6}" dt="2025-10-07T03:48:21.580" v="63659"/>
        <pc:sldMkLst>
          <pc:docMk/>
          <pc:sldMk cId="536096008" sldId="326"/>
        </pc:sldMkLst>
        <pc:spChg chg="mod ord">
          <ac:chgData name="Warren Heaps" userId="b5f776f4-d2aa-4752-837a-86796e4c6c94" providerId="ADAL" clId="{775E38DF-7547-4EB7-819D-F21CF3EEFCB6}" dt="2025-10-06T23:25:45.388" v="43423"/>
          <ac:spMkLst>
            <pc:docMk/>
            <pc:sldMk cId="536096008" sldId="326"/>
            <ac:spMk id="2" creationId="{CCB763B1-DD80-CCFD-7021-B28F2FC44C89}"/>
          </ac:spMkLst>
        </pc:spChg>
        <pc:spChg chg="add mod">
          <ac:chgData name="Warren Heaps" userId="b5f776f4-d2aa-4752-837a-86796e4c6c94" providerId="ADAL" clId="{775E38DF-7547-4EB7-819D-F21CF3EEFCB6}" dt="2025-10-06T23:25:45.408" v="43438"/>
          <ac:spMkLst>
            <pc:docMk/>
            <pc:sldMk cId="536096008" sldId="326"/>
            <ac:spMk id="62" creationId="{E2F6FAA9-2096-7C7C-6F4A-C7E4776549CA}"/>
          </ac:spMkLst>
        </pc:spChg>
        <pc:spChg chg="add mod">
          <ac:chgData name="Warren Heaps" userId="b5f776f4-d2aa-4752-837a-86796e4c6c94" providerId="ADAL" clId="{775E38DF-7547-4EB7-819D-F21CF3EEFCB6}" dt="2025-10-06T23:25:45.392" v="43426"/>
          <ac:spMkLst>
            <pc:docMk/>
            <pc:sldMk cId="536096008" sldId="326"/>
            <ac:spMk id="236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5:45.393" v="43427"/>
          <ac:spMkLst>
            <pc:docMk/>
            <pc:sldMk cId="536096008" sldId="326"/>
            <ac:spMk id="237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5:45.395" v="43428"/>
          <ac:spMkLst>
            <pc:docMk/>
            <pc:sldMk cId="536096008" sldId="326"/>
            <ac:spMk id="238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5:45.396" v="43429"/>
          <ac:spMkLst>
            <pc:docMk/>
            <pc:sldMk cId="536096008" sldId="326"/>
            <ac:spMk id="239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5:45.398" v="43430"/>
          <ac:spMkLst>
            <pc:docMk/>
            <pc:sldMk cId="536096008" sldId="326"/>
            <ac:spMk id="240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5:45.399" v="43431"/>
          <ac:spMkLst>
            <pc:docMk/>
            <pc:sldMk cId="536096008" sldId="326"/>
            <ac:spMk id="241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5:45.400" v="43432"/>
          <ac:spMkLst>
            <pc:docMk/>
            <pc:sldMk cId="536096008" sldId="326"/>
            <ac:spMk id="242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5:45.402" v="43433"/>
          <ac:spMkLst>
            <pc:docMk/>
            <pc:sldMk cId="536096008" sldId="326"/>
            <ac:spMk id="243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5:45.403" v="43434"/>
          <ac:spMkLst>
            <pc:docMk/>
            <pc:sldMk cId="536096008" sldId="326"/>
            <ac:spMk id="244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5:45.405" v="43435"/>
          <ac:spMkLst>
            <pc:docMk/>
            <pc:sldMk cId="536096008" sldId="326"/>
            <ac:spMk id="245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5:45.406" v="43436"/>
          <ac:spMkLst>
            <pc:docMk/>
            <pc:sldMk cId="536096008" sldId="326"/>
            <ac:spMk id="246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26:05.702" v="43486"/>
          <ac:spMkLst>
            <pc:docMk/>
            <pc:sldMk cId="536096008" sldId="326"/>
            <ac:spMk id="254" creationId="{CE26E0AA-CB0E-27CF-13BF-EB21234173D6}"/>
          </ac:spMkLst>
        </pc:spChg>
        <pc:graphicFrameChg chg="mod">
          <ac:chgData name="Warren Heaps" userId="b5f776f4-d2aa-4752-837a-86796e4c6c94" providerId="ADAL" clId="{775E38DF-7547-4EB7-819D-F21CF3EEFCB6}" dt="2025-10-06T23:26:05.804" v="43517"/>
          <ac:graphicFrameMkLst>
            <pc:docMk/>
            <pc:sldMk cId="536096008" sldId="326"/>
            <ac:graphicFrameMk id="7" creationId="{F9AC019C-7C94-6107-0428-84974F817554}"/>
          </ac:graphicFrameMkLst>
        </pc:graphicFrameChg>
        <pc:graphicFrameChg chg="add mod ord">
          <ac:chgData name="Warren Heaps" userId="b5f776f4-d2aa-4752-837a-86796e4c6c94" providerId="ADAL" clId="{775E38DF-7547-4EB7-819D-F21CF3EEFCB6}" dt="2025-10-06T23:25:45.390" v="43425"/>
          <ac:graphicFrameMkLst>
            <pc:docMk/>
            <pc:sldMk cId="536096008" sldId="326"/>
            <ac:graphicFrameMk id="327" creationId="{7414142C-99CC-F07A-EF32-71B48BCCA7EC}"/>
          </ac:graphicFrameMkLst>
        </pc:graphicFrameChg>
      </pc:sldChg>
      <pc:sldChg chg="addSp delSp modSp add mod ord">
        <pc:chgData name="Warren Heaps" userId="b5f776f4-d2aa-4752-837a-86796e4c6c94" providerId="ADAL" clId="{775E38DF-7547-4EB7-819D-F21CF3EEFCB6}" dt="2025-10-07T03:48:21.580" v="63659"/>
        <pc:sldMkLst>
          <pc:docMk/>
          <pc:sldMk cId="3964389567" sldId="327"/>
        </pc:sldMkLst>
        <pc:spChg chg="mod ord">
          <ac:chgData name="Warren Heaps" userId="b5f776f4-d2aa-4752-837a-86796e4c6c94" providerId="ADAL" clId="{775E38DF-7547-4EB7-819D-F21CF3EEFCB6}" dt="2025-10-06T23:36:56.721" v="45390" actId="948"/>
          <ac:spMkLst>
            <pc:docMk/>
            <pc:sldMk cId="3964389567" sldId="327"/>
            <ac:spMk id="2" creationId="{6B304F0E-4579-20B2-F3E2-F64D4C94B7C3}"/>
          </ac:spMkLst>
        </pc:spChg>
        <pc:spChg chg="add mod">
          <ac:chgData name="Warren Heaps" userId="b5f776f4-d2aa-4752-837a-86796e4c6c94" providerId="ADAL" clId="{775E38DF-7547-4EB7-819D-F21CF3EEFCB6}" dt="2025-10-06T23:37:15.150" v="45497"/>
          <ac:spMkLst>
            <pc:docMk/>
            <pc:sldMk cId="3964389567" sldId="327"/>
            <ac:spMk id="25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6T23:37:15.136" v="45490"/>
          <ac:spMkLst>
            <pc:docMk/>
            <pc:sldMk cId="3964389567" sldId="327"/>
            <ac:spMk id="28" creationId="{573E4AA3-EA40-103E-AB75-8F69BD51EA21}"/>
          </ac:spMkLst>
        </pc:spChg>
        <pc:spChg chg="add mod ord">
          <ac:chgData name="Warren Heaps" userId="b5f776f4-d2aa-4752-837a-86796e4c6c94" providerId="ADAL" clId="{775E38DF-7547-4EB7-819D-F21CF3EEFCB6}" dt="2025-10-06T23:37:15.122" v="45487"/>
          <ac:spMkLst>
            <pc:docMk/>
            <pc:sldMk cId="3964389567" sldId="327"/>
            <ac:spMk id="49" creationId="{BA74B218-D535-62AF-2D36-12C937214421}"/>
          </ac:spMkLst>
        </pc:spChg>
        <pc:spChg chg="add mod ord">
          <ac:chgData name="Warren Heaps" userId="b5f776f4-d2aa-4752-837a-86796e4c6c94" providerId="ADAL" clId="{775E38DF-7547-4EB7-819D-F21CF3EEFCB6}" dt="2025-10-06T23:37:15.146" v="45494"/>
          <ac:spMkLst>
            <pc:docMk/>
            <pc:sldMk cId="3964389567" sldId="327"/>
            <ac:spMk id="51" creationId="{04ABDDBC-5EFE-A73A-98A8-E5017F4AD34A}"/>
          </ac:spMkLst>
        </pc:spChg>
        <pc:spChg chg="mod">
          <ac:chgData name="Warren Heaps" userId="b5f776f4-d2aa-4752-837a-86796e4c6c94" providerId="ADAL" clId="{775E38DF-7547-4EB7-819D-F21CF3EEFCB6}" dt="2025-10-06T23:31:14.509" v="44306"/>
          <ac:spMkLst>
            <pc:docMk/>
            <pc:sldMk cId="3964389567" sldId="327"/>
            <ac:spMk id="236" creationId="{A46B9130-E0FF-8071-00FD-59DB09E54D02}"/>
          </ac:spMkLst>
        </pc:spChg>
        <pc:spChg chg="mod">
          <ac:chgData name="Warren Heaps" userId="b5f776f4-d2aa-4752-837a-86796e4c6c94" providerId="ADAL" clId="{775E38DF-7547-4EB7-819D-F21CF3EEFCB6}" dt="2025-10-06T23:31:22.083" v="44336"/>
          <ac:spMkLst>
            <pc:docMk/>
            <pc:sldMk cId="3964389567" sldId="327"/>
            <ac:spMk id="237" creationId="{22BC7521-4BDA-35E3-8EAE-AF4B2FF78E38}"/>
          </ac:spMkLst>
        </pc:spChg>
        <pc:spChg chg="mod">
          <ac:chgData name="Warren Heaps" userId="b5f776f4-d2aa-4752-837a-86796e4c6c94" providerId="ADAL" clId="{775E38DF-7547-4EB7-819D-F21CF3EEFCB6}" dt="2025-10-06T23:31:22.083" v="44336"/>
          <ac:spMkLst>
            <pc:docMk/>
            <pc:sldMk cId="3964389567" sldId="327"/>
            <ac:spMk id="238" creationId="{B47A5EAF-94CE-7F1B-AAF9-E3F68C075344}"/>
          </ac:spMkLst>
        </pc:spChg>
        <pc:spChg chg="mod">
          <ac:chgData name="Warren Heaps" userId="b5f776f4-d2aa-4752-837a-86796e4c6c94" providerId="ADAL" clId="{775E38DF-7547-4EB7-819D-F21CF3EEFCB6}" dt="2025-10-06T23:31:22.083" v="44336"/>
          <ac:spMkLst>
            <pc:docMk/>
            <pc:sldMk cId="3964389567" sldId="327"/>
            <ac:spMk id="239" creationId="{8413A202-A10A-3EDF-0419-69AAADA5FAF4}"/>
          </ac:spMkLst>
        </pc:spChg>
        <pc:spChg chg="mod">
          <ac:chgData name="Warren Heaps" userId="b5f776f4-d2aa-4752-837a-86796e4c6c94" providerId="ADAL" clId="{775E38DF-7547-4EB7-819D-F21CF3EEFCB6}" dt="2025-10-06T23:31:22.083" v="44336"/>
          <ac:spMkLst>
            <pc:docMk/>
            <pc:sldMk cId="3964389567" sldId="327"/>
            <ac:spMk id="240" creationId="{96A5ECDD-5F25-B526-ABB7-310E4B8B1604}"/>
          </ac:spMkLst>
        </pc:spChg>
        <pc:spChg chg="mod">
          <ac:chgData name="Warren Heaps" userId="b5f776f4-d2aa-4752-837a-86796e4c6c94" providerId="ADAL" clId="{775E38DF-7547-4EB7-819D-F21CF3EEFCB6}" dt="2025-10-06T23:31:22.083" v="44336"/>
          <ac:spMkLst>
            <pc:docMk/>
            <pc:sldMk cId="3964389567" sldId="327"/>
            <ac:spMk id="241" creationId="{1D299375-63E8-6743-6B84-1EEB5185591C}"/>
          </ac:spMkLst>
        </pc:spChg>
        <pc:spChg chg="mod">
          <ac:chgData name="Warren Heaps" userId="b5f776f4-d2aa-4752-837a-86796e4c6c94" providerId="ADAL" clId="{775E38DF-7547-4EB7-819D-F21CF3EEFCB6}" dt="2025-10-06T23:31:14.516" v="44312"/>
          <ac:spMkLst>
            <pc:docMk/>
            <pc:sldMk cId="3964389567" sldId="327"/>
            <ac:spMk id="242" creationId="{B7F47AD7-4C30-7713-3A90-007088EE6DA9}"/>
          </ac:spMkLst>
        </pc:spChg>
        <pc:spChg chg="mod">
          <ac:chgData name="Warren Heaps" userId="b5f776f4-d2aa-4752-837a-86796e4c6c94" providerId="ADAL" clId="{775E38DF-7547-4EB7-819D-F21CF3EEFCB6}" dt="2025-10-06T23:31:22.083" v="44336"/>
          <ac:spMkLst>
            <pc:docMk/>
            <pc:sldMk cId="3964389567" sldId="327"/>
            <ac:spMk id="243" creationId="{3075C93F-DE27-CD22-75CE-EB2E2E20A0CB}"/>
          </ac:spMkLst>
        </pc:spChg>
        <pc:spChg chg="mod">
          <ac:chgData name="Warren Heaps" userId="b5f776f4-d2aa-4752-837a-86796e4c6c94" providerId="ADAL" clId="{775E38DF-7547-4EB7-819D-F21CF3EEFCB6}" dt="2025-10-06T23:31:22.083" v="44336"/>
          <ac:spMkLst>
            <pc:docMk/>
            <pc:sldMk cId="3964389567" sldId="327"/>
            <ac:spMk id="244" creationId="{AC9758CE-CBD4-2008-6C35-ADDB45EBB756}"/>
          </ac:spMkLst>
        </pc:spChg>
        <pc:spChg chg="mod">
          <ac:chgData name="Warren Heaps" userId="b5f776f4-d2aa-4752-837a-86796e4c6c94" providerId="ADAL" clId="{775E38DF-7547-4EB7-819D-F21CF3EEFCB6}" dt="2025-10-06T23:31:22.083" v="44336"/>
          <ac:spMkLst>
            <pc:docMk/>
            <pc:sldMk cId="3964389567" sldId="327"/>
            <ac:spMk id="245" creationId="{FD877723-4F0E-3F9E-7265-17C56373BB11}"/>
          </ac:spMkLst>
        </pc:spChg>
        <pc:spChg chg="mod">
          <ac:chgData name="Warren Heaps" userId="b5f776f4-d2aa-4752-837a-86796e4c6c94" providerId="ADAL" clId="{775E38DF-7547-4EB7-819D-F21CF3EEFCB6}" dt="2025-10-06T23:31:14.521" v="44316"/>
          <ac:spMkLst>
            <pc:docMk/>
            <pc:sldMk cId="3964389567" sldId="327"/>
            <ac:spMk id="246" creationId="{57580D41-D434-6F92-E2FD-D9AE82B52152}"/>
          </ac:spMkLst>
        </pc:spChg>
        <pc:spChg chg="mod">
          <ac:chgData name="Warren Heaps" userId="b5f776f4-d2aa-4752-837a-86796e4c6c94" providerId="ADAL" clId="{775E38DF-7547-4EB7-819D-F21CF3EEFCB6}" dt="2025-10-06T23:37:04.253" v="45479"/>
          <ac:spMkLst>
            <pc:docMk/>
            <pc:sldMk cId="3964389567" sldId="327"/>
            <ac:spMk id="254" creationId="{790A8E2B-A897-30E2-739D-291614A14A9C}"/>
          </ac:spMkLst>
        </pc:spChg>
        <pc:spChg chg="add mod ord">
          <ac:chgData name="Warren Heaps" userId="b5f776f4-d2aa-4752-837a-86796e4c6c94" providerId="ADAL" clId="{775E38DF-7547-4EB7-819D-F21CF3EEFCB6}" dt="2025-10-06T23:31:43.459" v="44339" actId="14100"/>
          <ac:spMkLst>
            <pc:docMk/>
            <pc:sldMk cId="3964389567" sldId="327"/>
            <ac:spMk id="298" creationId="{780D0122-C41B-A9DE-F690-A97FDE1D0931}"/>
          </ac:spMkLst>
        </pc:spChg>
        <pc:spChg chg="add mod">
          <ac:chgData name="Warren Heaps" userId="b5f776f4-d2aa-4752-837a-86796e4c6c94" providerId="ADAL" clId="{775E38DF-7547-4EB7-819D-F21CF3EEFCB6}" dt="2025-10-06T23:39:33.912" v="46095"/>
          <ac:spMkLst>
            <pc:docMk/>
            <pc:sldMk cId="3964389567" sldId="327"/>
            <ac:spMk id="299" creationId="{885371E8-7632-3C4A-ADA5-1A7187B6BE78}"/>
          </ac:spMkLst>
        </pc:spChg>
        <pc:graphicFrameChg chg="mod">
          <ac:chgData name="Warren Heaps" userId="b5f776f4-d2aa-4752-837a-86796e4c6c94" providerId="ADAL" clId="{775E38DF-7547-4EB7-819D-F21CF3EEFCB6}" dt="2025-10-06T23:39:34.097" v="46140"/>
          <ac:graphicFrameMkLst>
            <pc:docMk/>
            <pc:sldMk cId="3964389567" sldId="327"/>
            <ac:graphicFrameMk id="7" creationId="{FEF43361-B064-5904-0635-597A3F81F451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6T23:31:22.052" v="44335" actId="478"/>
          <ac:graphicFrameMkLst>
            <pc:docMk/>
            <pc:sldMk cId="3964389567" sldId="327"/>
            <ac:graphicFrameMk id="354" creationId="{E4C4A128-80C1-7CEE-778F-2A853F178DEE}"/>
          </ac:graphicFrameMkLst>
        </pc:graphicFrameChg>
      </pc:sldChg>
      <pc:sldChg chg="addSp delSp modSp new mod">
        <pc:chgData name="Warren Heaps" userId="b5f776f4-d2aa-4752-837a-86796e4c6c94" providerId="ADAL" clId="{775E38DF-7547-4EB7-819D-F21CF3EEFCB6}" dt="2025-10-07T03:04:56.725" v="57111"/>
        <pc:sldMkLst>
          <pc:docMk/>
          <pc:sldMk cId="3385085341" sldId="328"/>
        </pc:sldMkLst>
        <pc:spChg chg="mod ord">
          <ac:chgData name="Warren Heaps" userId="b5f776f4-d2aa-4752-837a-86796e4c6c94" providerId="ADAL" clId="{775E38DF-7547-4EB7-819D-F21CF3EEFCB6}" dt="2025-10-07T03:01:01.945" v="56971" actId="948"/>
          <ac:spMkLst>
            <pc:docMk/>
            <pc:sldMk cId="3385085341" sldId="328"/>
            <ac:spMk id="2" creationId="{6285A6BA-FCBA-8F00-913C-9BC5FE651C6C}"/>
          </ac:spMkLst>
        </pc:spChg>
        <pc:spChg chg="add mod">
          <ac:chgData name="Warren Heaps" userId="b5f776f4-d2aa-4752-837a-86796e4c6c94" providerId="ADAL" clId="{775E38DF-7547-4EB7-819D-F21CF3EEFCB6}" dt="2025-10-07T03:01:02.006" v="56991"/>
          <ac:spMkLst>
            <pc:docMk/>
            <pc:sldMk cId="3385085341" sldId="328"/>
            <ac:spMk id="8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7T03:04:56.719" v="57107"/>
          <ac:spMkLst>
            <pc:docMk/>
            <pc:sldMk cId="3385085341" sldId="328"/>
            <ac:spMk id="63" creationId="{E0D4B8F8-4529-A039-6215-90B61FC1481F}"/>
          </ac:spMkLst>
        </pc:spChg>
        <pc:graphicFrameChg chg="add mod ord modVis">
          <ac:chgData name="Warren Heaps" userId="b5f776f4-d2aa-4752-837a-86796e4c6c94" providerId="ADAL" clId="{775E38DF-7547-4EB7-819D-F21CF3EEFCB6}" dt="2025-10-07T03:04:56.725" v="57111"/>
          <ac:graphicFrameMkLst>
            <pc:docMk/>
            <pc:sldMk cId="3385085341" sldId="328"/>
            <ac:graphicFrameMk id="4" creationId="{BCC799E4-5BB5-F65A-357B-A757EF63B151}"/>
          </ac:graphicFrameMkLst>
        </pc:graphicFrameChg>
        <pc:picChg chg="add mod">
          <ac:chgData name="Warren Heaps" userId="b5f776f4-d2aa-4752-837a-86796e4c6c94" providerId="ADAL" clId="{775E38DF-7547-4EB7-819D-F21CF3EEFCB6}" dt="2025-10-07T03:04:32.309" v="57071" actId="1076"/>
          <ac:picMkLst>
            <pc:docMk/>
            <pc:sldMk cId="3385085341" sldId="328"/>
            <ac:picMk id="208" creationId="{A3ED2416-2484-63CB-A7AF-E0359C048D4B}"/>
          </ac:picMkLst>
        </pc:picChg>
        <pc:picChg chg="add mod">
          <ac:chgData name="Warren Heaps" userId="b5f776f4-d2aa-4752-837a-86796e4c6c94" providerId="ADAL" clId="{775E38DF-7547-4EB7-819D-F21CF3EEFCB6}" dt="2025-10-07T03:04:29.496" v="57070" actId="1076"/>
          <ac:picMkLst>
            <pc:docMk/>
            <pc:sldMk cId="3385085341" sldId="328"/>
            <ac:picMk id="209" creationId="{60A68108-402B-313B-2E58-F074A342C04A}"/>
          </ac:picMkLst>
        </pc:picChg>
        <pc:picChg chg="add mod">
          <ac:chgData name="Warren Heaps" userId="b5f776f4-d2aa-4752-837a-86796e4c6c94" providerId="ADAL" clId="{775E38DF-7547-4EB7-819D-F21CF3EEFCB6}" dt="2025-10-07T03:04:27.348" v="57069" actId="1076"/>
          <ac:picMkLst>
            <pc:docMk/>
            <pc:sldMk cId="3385085341" sldId="328"/>
            <ac:picMk id="210" creationId="{7E94EDAD-0AC1-DDE5-F67B-537B0C943A3E}"/>
          </ac:picMkLst>
        </pc:picChg>
        <pc:picChg chg="add mod">
          <ac:chgData name="Warren Heaps" userId="b5f776f4-d2aa-4752-837a-86796e4c6c94" providerId="ADAL" clId="{775E38DF-7547-4EB7-819D-F21CF3EEFCB6}" dt="2025-10-07T03:04:24.434" v="57068" actId="1076"/>
          <ac:picMkLst>
            <pc:docMk/>
            <pc:sldMk cId="3385085341" sldId="328"/>
            <ac:picMk id="211" creationId="{220A50ED-9B79-7E7F-034C-3E823A2993CC}"/>
          </ac:picMkLst>
        </pc:picChg>
        <pc:picChg chg="add mod">
          <ac:chgData name="Warren Heaps" userId="b5f776f4-d2aa-4752-837a-86796e4c6c94" providerId="ADAL" clId="{775E38DF-7547-4EB7-819D-F21CF3EEFCB6}" dt="2025-10-07T03:04:21.812" v="57067" actId="1076"/>
          <ac:picMkLst>
            <pc:docMk/>
            <pc:sldMk cId="3385085341" sldId="328"/>
            <ac:picMk id="212" creationId="{7F46DC37-4B95-3996-D930-F0140B2879B4}"/>
          </ac:picMkLst>
        </pc:picChg>
        <pc:picChg chg="add mod">
          <ac:chgData name="Warren Heaps" userId="b5f776f4-d2aa-4752-837a-86796e4c6c94" providerId="ADAL" clId="{775E38DF-7547-4EB7-819D-F21CF3EEFCB6}" dt="2025-10-07T03:04:19.236" v="57066" actId="1076"/>
          <ac:picMkLst>
            <pc:docMk/>
            <pc:sldMk cId="3385085341" sldId="328"/>
            <ac:picMk id="213" creationId="{740F034C-55A5-936B-C23A-31FF3DC07075}"/>
          </ac:picMkLst>
        </pc:picChg>
      </pc:sldChg>
      <pc:sldChg chg="addSp delSp modSp add mod">
        <pc:chgData name="Warren Heaps" userId="b5f776f4-d2aa-4752-837a-86796e4c6c94" providerId="ADAL" clId="{775E38DF-7547-4EB7-819D-F21CF3EEFCB6}" dt="2025-10-07T03:05:42.166" v="57320"/>
        <pc:sldMkLst>
          <pc:docMk/>
          <pc:sldMk cId="3181062982" sldId="329"/>
        </pc:sldMkLst>
        <pc:spChg chg="mod">
          <ac:chgData name="Warren Heaps" userId="b5f776f4-d2aa-4752-837a-86796e4c6c94" providerId="ADAL" clId="{775E38DF-7547-4EB7-819D-F21CF3EEFCB6}" dt="2025-10-07T03:05:41.919" v="57288" actId="948"/>
          <ac:spMkLst>
            <pc:docMk/>
            <pc:sldMk cId="3181062982" sldId="329"/>
            <ac:spMk id="2" creationId="{84F5B748-46B4-01DC-D11F-C78D28D3098C}"/>
          </ac:spMkLst>
        </pc:spChg>
        <pc:spChg chg="mod">
          <ac:chgData name="Warren Heaps" userId="b5f776f4-d2aa-4752-837a-86796e4c6c94" providerId="ADAL" clId="{775E38DF-7547-4EB7-819D-F21CF3EEFCB6}" dt="2025-10-07T03:05:41.947" v="57295"/>
          <ac:spMkLst>
            <pc:docMk/>
            <pc:sldMk cId="3181062982" sldId="329"/>
            <ac:spMk id="8" creationId="{74CEA762-9B12-E868-CE05-1D8B0B9D5FCF}"/>
          </ac:spMkLst>
        </pc:spChg>
        <pc:spChg chg="mod">
          <ac:chgData name="Warren Heaps" userId="b5f776f4-d2aa-4752-837a-86796e4c6c94" providerId="ADAL" clId="{775E38DF-7547-4EB7-819D-F21CF3EEFCB6}" dt="2025-10-07T03:05:42.056" v="57302"/>
          <ac:spMkLst>
            <pc:docMk/>
            <pc:sldMk cId="3181062982" sldId="329"/>
            <ac:spMk id="63" creationId="{C1A7C711-47A2-050B-DEF5-34FE6D5B1527}"/>
          </ac:spMkLst>
        </pc:spChg>
        <pc:spChg chg="mod">
          <ac:chgData name="Warren Heaps" userId="b5f776f4-d2aa-4752-837a-86796e4c6c94" providerId="ADAL" clId="{775E38DF-7547-4EB7-819D-F21CF3EEFCB6}" dt="2025-10-07T03:05:41.569" v="57240"/>
          <ac:spMkLst>
            <pc:docMk/>
            <pc:sldMk cId="3181062982" sldId="329"/>
            <ac:spMk id="84" creationId="{61CDA7AC-BA06-920F-BC80-24D162C3025D}"/>
          </ac:spMkLst>
        </pc:spChg>
        <pc:graphicFrameChg chg="mod">
          <ac:chgData name="Warren Heaps" userId="b5f776f4-d2aa-4752-837a-86796e4c6c94" providerId="ADAL" clId="{775E38DF-7547-4EB7-819D-F21CF3EEFCB6}" dt="2025-10-07T03:05:42.166" v="57320"/>
          <ac:graphicFrameMkLst>
            <pc:docMk/>
            <pc:sldMk cId="3181062982" sldId="329"/>
            <ac:graphicFrameMk id="4" creationId="{6E3D722E-7551-4034-EC4F-44D78521F45A}"/>
          </ac:graphicFrameMkLst>
        </pc:graphicFrameChg>
      </pc:sldChg>
      <pc:sldChg chg="addSp delSp modSp new mod">
        <pc:chgData name="Warren Heaps" userId="b5f776f4-d2aa-4752-837a-86796e4c6c94" providerId="ADAL" clId="{775E38DF-7547-4EB7-819D-F21CF3EEFCB6}" dt="2025-10-08T15:23:23.612" v="104694" actId="1076"/>
        <pc:sldMkLst>
          <pc:docMk/>
          <pc:sldMk cId="1934462262" sldId="330"/>
        </pc:sldMkLst>
        <pc:spChg chg="mod ord">
          <ac:chgData name="Warren Heaps" userId="b5f776f4-d2aa-4752-837a-86796e4c6c94" providerId="ADAL" clId="{775E38DF-7547-4EB7-819D-F21CF3EEFCB6}" dt="2025-10-08T15:21:10.342" v="104462"/>
          <ac:spMkLst>
            <pc:docMk/>
            <pc:sldMk cId="1934462262" sldId="330"/>
            <ac:spMk id="2" creationId="{B79EA3F1-B4ED-8E64-D12A-BB448BE82780}"/>
          </ac:spMkLst>
        </pc:spChg>
        <pc:spChg chg="add mod">
          <ac:chgData name="Warren Heaps" userId="b5f776f4-d2aa-4752-837a-86796e4c6c94" providerId="ADAL" clId="{775E38DF-7547-4EB7-819D-F21CF3EEFCB6}" dt="2025-10-08T15:21:58.791" v="104626"/>
          <ac:spMkLst>
            <pc:docMk/>
            <pc:sldMk cId="1934462262" sldId="330"/>
            <ac:spMk id="3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5:21:10.350" v="104468"/>
          <ac:spMkLst>
            <pc:docMk/>
            <pc:sldMk cId="1934462262" sldId="330"/>
            <ac:spMk id="5" creationId="{A35DEEF5-5EE7-E39E-DF98-F02B229AE1D8}"/>
          </ac:spMkLst>
        </pc:spChg>
        <pc:spChg chg="add del mod modVis">
          <ac:chgData name="Warren Heaps" userId="b5f776f4-d2aa-4752-837a-86796e4c6c94" providerId="ADAL" clId="{775E38DF-7547-4EB7-819D-F21CF3EEFCB6}" dt="2025-10-08T15:21:25.626" v="104519"/>
          <ac:spMkLst>
            <pc:docMk/>
            <pc:sldMk cId="1934462262" sldId="330"/>
            <ac:spMk id="6" creationId="{62C19DDF-259F-7AB2-BD24-6AE8539D5725}"/>
          </ac:spMkLst>
        </pc:spChg>
        <pc:spChg chg="add del mod modVis">
          <ac:chgData name="Warren Heaps" userId="b5f776f4-d2aa-4752-837a-86796e4c6c94" providerId="ADAL" clId="{775E38DF-7547-4EB7-819D-F21CF3EEFCB6}" dt="2025-10-08T15:21:27.023" v="104544"/>
          <ac:spMkLst>
            <pc:docMk/>
            <pc:sldMk cId="1934462262" sldId="330"/>
            <ac:spMk id="7" creationId="{73033C12-1807-FA07-D654-78AC15EB5DBE}"/>
          </ac:spMkLst>
        </pc:spChg>
        <pc:spChg chg="add del mod modVis">
          <ac:chgData name="Warren Heaps" userId="b5f776f4-d2aa-4752-837a-86796e4c6c94" providerId="ADAL" clId="{775E38DF-7547-4EB7-819D-F21CF3EEFCB6}" dt="2025-10-08T15:21:32.151" v="104574"/>
          <ac:spMkLst>
            <pc:docMk/>
            <pc:sldMk cId="1934462262" sldId="330"/>
            <ac:spMk id="8" creationId="{9004FC54-352F-FE89-1AD1-E41A626BDE7E}"/>
          </ac:spMkLst>
        </pc:spChg>
        <pc:spChg chg="add del mod modVis">
          <ac:chgData name="Warren Heaps" userId="b5f776f4-d2aa-4752-837a-86796e4c6c94" providerId="ADAL" clId="{775E38DF-7547-4EB7-819D-F21CF3EEFCB6}" dt="2025-10-08T15:21:40.545" v="104600"/>
          <ac:spMkLst>
            <pc:docMk/>
            <pc:sldMk cId="1934462262" sldId="330"/>
            <ac:spMk id="9" creationId="{7A486B2F-4EE7-D292-0DD1-35D33DCB1567}"/>
          </ac:spMkLst>
        </pc:spChg>
        <pc:spChg chg="add del">
          <ac:chgData name="Warren Heaps" userId="b5f776f4-d2aa-4752-837a-86796e4c6c94" providerId="ADAL" clId="{775E38DF-7547-4EB7-819D-F21CF3EEFCB6}" dt="2025-10-08T15:22:15.982" v="104630" actId="478"/>
          <ac:spMkLst>
            <pc:docMk/>
            <pc:sldMk cId="1934462262" sldId="330"/>
            <ac:spMk id="10" creationId="{139CA657-A2CD-3458-47CA-40726C044969}"/>
          </ac:spMkLst>
        </pc:spChg>
        <pc:spChg chg="add mod">
          <ac:chgData name="Warren Heaps" userId="b5f776f4-d2aa-4752-837a-86796e4c6c94" providerId="ADAL" clId="{775E38DF-7547-4EB7-819D-F21CF3EEFCB6}" dt="2025-10-08T15:21:10.346" v="104465"/>
          <ac:spMkLst>
            <pc:docMk/>
            <pc:sldMk cId="1934462262" sldId="330"/>
            <ac:spMk id="14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8T15:23:12.996" v="104668"/>
          <ac:spMkLst>
            <pc:docMk/>
            <pc:sldMk cId="1934462262" sldId="330"/>
            <ac:spMk id="15" creationId="{5BB0BF51-D9EB-7C07-6113-8C25086A584F}"/>
          </ac:spMkLst>
        </pc:spChg>
        <pc:spChg chg="add del mod modVis">
          <ac:chgData name="Warren Heaps" userId="b5f776f4-d2aa-4752-837a-86796e4c6c94" providerId="ADAL" clId="{775E38DF-7547-4EB7-819D-F21CF3EEFCB6}" dt="2025-10-08T15:23:05.569" v="104663"/>
          <ac:spMkLst>
            <pc:docMk/>
            <pc:sldMk cId="1934462262" sldId="330"/>
            <ac:spMk id="16" creationId="{E6A19DE2-42EB-FBB3-7CD4-6652912F5316}"/>
          </ac:spMkLst>
        </pc:spChg>
        <pc:spChg chg="add del mod modVis">
          <ac:chgData name="Warren Heaps" userId="b5f776f4-d2aa-4752-837a-86796e4c6c94" providerId="ADAL" clId="{775E38DF-7547-4EB7-819D-F21CF3EEFCB6}" dt="2025-10-08T15:23:13.086" v="104690"/>
          <ac:spMkLst>
            <pc:docMk/>
            <pc:sldMk cId="1934462262" sldId="330"/>
            <ac:spMk id="17" creationId="{51168216-3090-2A88-6C18-B098315B4AD2}"/>
          </ac:spMkLst>
        </pc:spChg>
        <pc:graphicFrameChg chg="add mod ord modVis">
          <ac:chgData name="Warren Heaps" userId="b5f776f4-d2aa-4752-837a-86796e4c6c94" providerId="ADAL" clId="{775E38DF-7547-4EB7-819D-F21CF3EEFCB6}" dt="2025-10-08T15:23:13.090" v="104692"/>
          <ac:graphicFrameMkLst>
            <pc:docMk/>
            <pc:sldMk cId="1934462262" sldId="330"/>
            <ac:graphicFrameMk id="4" creationId="{F699EE47-A815-54E5-ED3D-48A585752F3E}"/>
          </ac:graphicFrameMkLst>
        </pc:graphicFrameChg>
        <pc:picChg chg="add mod ord">
          <ac:chgData name="Warren Heaps" userId="b5f776f4-d2aa-4752-837a-86796e4c6c94" providerId="ADAL" clId="{775E38DF-7547-4EB7-819D-F21CF3EEFCB6}" dt="2025-10-08T15:21:10.345" v="104464"/>
          <ac:picMkLst>
            <pc:docMk/>
            <pc:sldMk cId="1934462262" sldId="330"/>
            <ac:picMk id="13" creationId="{8FE5B527-BE6A-EDD7-B26B-D7A767DCB80C}"/>
          </ac:picMkLst>
        </pc:picChg>
        <pc:cxnChg chg="add mod">
          <ac:chgData name="Warren Heaps" userId="b5f776f4-d2aa-4752-837a-86796e4c6c94" providerId="ADAL" clId="{775E38DF-7547-4EB7-819D-F21CF3EEFCB6}" dt="2025-10-08T15:22:44.240" v="104633" actId="1582"/>
          <ac:cxnSpMkLst>
            <pc:docMk/>
            <pc:sldMk cId="1934462262" sldId="330"/>
            <ac:cxnSpMk id="12" creationId="{A5DDA57E-7D57-8142-AD5A-0D9478EEDC02}"/>
          </ac:cxnSpMkLst>
        </pc:cxnChg>
        <pc:cxnChg chg="add mod">
          <ac:chgData name="Warren Heaps" userId="b5f776f4-d2aa-4752-837a-86796e4c6c94" providerId="ADAL" clId="{775E38DF-7547-4EB7-819D-F21CF3EEFCB6}" dt="2025-10-08T15:23:23.612" v="104694" actId="1076"/>
          <ac:cxnSpMkLst>
            <pc:docMk/>
            <pc:sldMk cId="1934462262" sldId="330"/>
            <ac:cxnSpMk id="18" creationId="{A9311611-9947-34BA-950C-DB8B1283A439}"/>
          </ac:cxnSpMkLst>
        </pc:cxnChg>
      </pc:sldChg>
      <pc:sldChg chg="addSp delSp modSp new mod ord modClrScheme chgLayout">
        <pc:chgData name="Warren Heaps" userId="b5f776f4-d2aa-4752-837a-86796e4c6c94" providerId="ADAL" clId="{775E38DF-7547-4EB7-819D-F21CF3EEFCB6}" dt="2025-10-07T03:47:12.210" v="63393"/>
        <pc:sldMkLst>
          <pc:docMk/>
          <pc:sldMk cId="2754205399" sldId="331"/>
        </pc:sldMkLst>
        <pc:spChg chg="add mod ord">
          <ac:chgData name="Warren Heaps" userId="b5f776f4-d2aa-4752-837a-86796e4c6c94" providerId="ADAL" clId="{775E38DF-7547-4EB7-819D-F21CF3EEFCB6}" dt="2025-10-07T03:47:03.005" v="63367" actId="948"/>
          <ac:spMkLst>
            <pc:docMk/>
            <pc:sldMk cId="2754205399" sldId="331"/>
            <ac:spMk id="7" creationId="{5E474F97-12E4-003F-CC4B-628F49673F65}"/>
          </ac:spMkLst>
        </pc:spChg>
        <pc:graphicFrameChg chg="add mod ord modVis">
          <ac:chgData name="Warren Heaps" userId="b5f776f4-d2aa-4752-837a-86796e4c6c94" providerId="ADAL" clId="{775E38DF-7547-4EB7-819D-F21CF3EEFCB6}" dt="2025-10-07T03:47:03.077" v="63391"/>
          <ac:graphicFrameMkLst>
            <pc:docMk/>
            <pc:sldMk cId="2754205399" sldId="331"/>
            <ac:graphicFrameMk id="3" creationId="{BE29D041-32F7-7172-FE17-083AC2A467D4}"/>
          </ac:graphicFrameMkLst>
        </pc:graphicFrameChg>
      </pc:sldChg>
      <pc:sldChg chg="addSp delSp modSp new mod">
        <pc:chgData name="Warren Heaps" userId="b5f776f4-d2aa-4752-837a-86796e4c6c94" providerId="ADAL" clId="{775E38DF-7547-4EB7-819D-F21CF3EEFCB6}" dt="2025-10-07T19:53:30.840" v="73672" actId="20577"/>
        <pc:sldMkLst>
          <pc:docMk/>
          <pc:sldMk cId="1807163327" sldId="332"/>
        </pc:sldMkLst>
        <pc:spChg chg="mod ord">
          <ac:chgData name="Warren Heaps" userId="b5f776f4-d2aa-4752-837a-86796e4c6c94" providerId="ADAL" clId="{775E38DF-7547-4EB7-819D-F21CF3EEFCB6}" dt="2025-10-07T19:49:12.092" v="72079"/>
          <ac:spMkLst>
            <pc:docMk/>
            <pc:sldMk cId="1807163327" sldId="332"/>
            <ac:spMk id="2" creationId="{145FE9D2-8457-9C57-99D0-685A84227739}"/>
          </ac:spMkLst>
        </pc:spChg>
        <pc:spChg chg="add mod">
          <ac:chgData name="Warren Heaps" userId="b5f776f4-d2aa-4752-837a-86796e4c6c94" providerId="ADAL" clId="{775E38DF-7547-4EB7-819D-F21CF3EEFCB6}" dt="2025-10-07T19:51:50.332" v="73547"/>
          <ac:spMkLst>
            <pc:docMk/>
            <pc:sldMk cId="1807163327" sldId="332"/>
            <ac:spMk id="80" creationId="{885371E8-7632-3C4A-ADA5-1A7187B6BE78}"/>
          </ac:spMkLst>
        </pc:spChg>
        <pc:graphicFrameChg chg="add mod ord modVis">
          <ac:chgData name="Warren Heaps" userId="b5f776f4-d2aa-4752-837a-86796e4c6c94" providerId="ADAL" clId="{775E38DF-7547-4EB7-819D-F21CF3EEFCB6}" dt="2025-10-07T19:51:50.485" v="73578"/>
          <ac:graphicFrameMkLst>
            <pc:docMk/>
            <pc:sldMk cId="1807163327" sldId="332"/>
            <ac:graphicFrameMk id="4" creationId="{661B10FE-E943-056A-F304-97FF57CD333C}"/>
          </ac:graphicFrameMkLst>
        </pc:graphicFrameChg>
        <pc:graphicFrameChg chg="add mod ord modGraphic">
          <ac:chgData name="Warren Heaps" userId="b5f776f4-d2aa-4752-837a-86796e4c6c94" providerId="ADAL" clId="{775E38DF-7547-4EB7-819D-F21CF3EEFCB6}" dt="2025-10-07T19:53:30.840" v="73672" actId="20577"/>
          <ac:graphicFrameMkLst>
            <pc:docMk/>
            <pc:sldMk cId="1807163327" sldId="332"/>
            <ac:graphicFrameMk id="78" creationId="{A03CD442-2467-0FCB-1CAA-8B38CDF1F9D4}"/>
          </ac:graphicFrameMkLst>
        </pc:graphicFrameChg>
      </pc:sldChg>
      <pc:sldChg chg="addSp delSp modSp new del mod">
        <pc:chgData name="Warren Heaps" userId="b5f776f4-d2aa-4752-837a-86796e4c6c94" providerId="ADAL" clId="{775E38DF-7547-4EB7-819D-F21CF3EEFCB6}" dt="2025-10-07T19:59:44.094" v="74558" actId="47"/>
        <pc:sldMkLst>
          <pc:docMk/>
          <pc:sldMk cId="172168875" sldId="333"/>
        </pc:sldMkLst>
      </pc:sldChg>
      <pc:sldChg chg="addSp delSp modSp new mod">
        <pc:chgData name="Warren Heaps" userId="b5f776f4-d2aa-4752-837a-86796e4c6c94" providerId="ADAL" clId="{775E38DF-7547-4EB7-819D-F21CF3EEFCB6}" dt="2025-10-08T01:52:19.117" v="81716"/>
        <pc:sldMkLst>
          <pc:docMk/>
          <pc:sldMk cId="3828354993" sldId="333"/>
        </pc:sldMkLst>
        <pc:spChg chg="mod ord">
          <ac:chgData name="Warren Heaps" userId="b5f776f4-d2aa-4752-837a-86796e4c6c94" providerId="ADAL" clId="{775E38DF-7547-4EB7-819D-F21CF3EEFCB6}" dt="2025-10-08T01:49:15.499" v="80685"/>
          <ac:spMkLst>
            <pc:docMk/>
            <pc:sldMk cId="3828354993" sldId="333"/>
            <ac:spMk id="2" creationId="{21A2FF88-3594-9CE5-4BA6-24E98B27D073}"/>
          </ac:spMkLst>
        </pc:spChg>
        <pc:spChg chg="add del mod modVis">
          <ac:chgData name="Warren Heaps" userId="b5f776f4-d2aa-4752-837a-86796e4c6c94" providerId="ADAL" clId="{775E38DF-7547-4EB7-819D-F21CF3EEFCB6}" dt="2025-10-08T01:19:52.784" v="74607"/>
          <ac:spMkLst>
            <pc:docMk/>
            <pc:sldMk cId="3828354993" sldId="333"/>
            <ac:spMk id="4" creationId="{ADA8FA9E-D21A-9FE1-4786-3FF7C6657B7C}"/>
          </ac:spMkLst>
        </pc:spChg>
        <pc:spChg chg="add del mod modVis">
          <ac:chgData name="Warren Heaps" userId="b5f776f4-d2aa-4752-837a-86796e4c6c94" providerId="ADAL" clId="{775E38DF-7547-4EB7-819D-F21CF3EEFCB6}" dt="2025-10-08T01:19:53.868" v="74635"/>
          <ac:spMkLst>
            <pc:docMk/>
            <pc:sldMk cId="3828354993" sldId="333"/>
            <ac:spMk id="5" creationId="{1239B9FB-E64A-CDBC-6175-540335A8B925}"/>
          </ac:spMkLst>
        </pc:spChg>
        <pc:spChg chg="add del mod modVis">
          <ac:chgData name="Warren Heaps" userId="b5f776f4-d2aa-4752-837a-86796e4c6c94" providerId="ADAL" clId="{775E38DF-7547-4EB7-819D-F21CF3EEFCB6}" dt="2025-10-08T01:19:56.796" v="74665"/>
          <ac:spMkLst>
            <pc:docMk/>
            <pc:sldMk cId="3828354993" sldId="333"/>
            <ac:spMk id="6" creationId="{942820ED-C596-DBAD-A543-71326BB5F390}"/>
          </ac:spMkLst>
        </pc:spChg>
        <pc:spChg chg="add del mod modVis">
          <ac:chgData name="Warren Heaps" userId="b5f776f4-d2aa-4752-837a-86796e4c6c94" providerId="ADAL" clId="{775E38DF-7547-4EB7-819D-F21CF3EEFCB6}" dt="2025-10-08T01:19:59.604" v="74692"/>
          <ac:spMkLst>
            <pc:docMk/>
            <pc:sldMk cId="3828354993" sldId="333"/>
            <ac:spMk id="7" creationId="{400FAA3D-D7A7-F5F6-88DE-BE91200CA05E}"/>
          </ac:spMkLst>
        </pc:spChg>
        <pc:spChg chg="add del mod modVis">
          <ac:chgData name="Warren Heaps" userId="b5f776f4-d2aa-4752-837a-86796e4c6c94" providerId="ADAL" clId="{775E38DF-7547-4EB7-819D-F21CF3EEFCB6}" dt="2025-10-08T01:20:00.711" v="74718"/>
          <ac:spMkLst>
            <pc:docMk/>
            <pc:sldMk cId="3828354993" sldId="333"/>
            <ac:spMk id="8" creationId="{E545A000-1FEC-8844-A1EC-3F5DC923311E}"/>
          </ac:spMkLst>
        </pc:spChg>
        <pc:spChg chg="add del mod modVis">
          <ac:chgData name="Warren Heaps" userId="b5f776f4-d2aa-4752-837a-86796e4c6c94" providerId="ADAL" clId="{775E38DF-7547-4EB7-819D-F21CF3EEFCB6}" dt="2025-10-08T01:20:01.546" v="74743"/>
          <ac:spMkLst>
            <pc:docMk/>
            <pc:sldMk cId="3828354993" sldId="333"/>
            <ac:spMk id="9" creationId="{B27CEAC9-3923-514F-EEF0-A31857E930C0}"/>
          </ac:spMkLst>
        </pc:spChg>
        <pc:spChg chg="add del mod modVis">
          <ac:chgData name="Warren Heaps" userId="b5f776f4-d2aa-4752-837a-86796e4c6c94" providerId="ADAL" clId="{775E38DF-7547-4EB7-819D-F21CF3EEFCB6}" dt="2025-10-08T01:20:03.224" v="74772"/>
          <ac:spMkLst>
            <pc:docMk/>
            <pc:sldMk cId="3828354993" sldId="333"/>
            <ac:spMk id="10" creationId="{BA5B8847-DCCF-3EBF-538B-1408C08A7AE2}"/>
          </ac:spMkLst>
        </pc:spChg>
        <pc:spChg chg="add del mod modVis">
          <ac:chgData name="Warren Heaps" userId="b5f776f4-d2aa-4752-837a-86796e4c6c94" providerId="ADAL" clId="{775E38DF-7547-4EB7-819D-F21CF3EEFCB6}" dt="2025-10-08T01:20:04.644" v="74799"/>
          <ac:spMkLst>
            <pc:docMk/>
            <pc:sldMk cId="3828354993" sldId="333"/>
            <ac:spMk id="11" creationId="{BD573120-49F7-0137-C1EB-CAB343065FE7}"/>
          </ac:spMkLst>
        </pc:spChg>
        <pc:spChg chg="add del mod modVis">
          <ac:chgData name="Warren Heaps" userId="b5f776f4-d2aa-4752-837a-86796e4c6c94" providerId="ADAL" clId="{775E38DF-7547-4EB7-819D-F21CF3EEFCB6}" dt="2025-10-08T01:20:06.455" v="74828"/>
          <ac:spMkLst>
            <pc:docMk/>
            <pc:sldMk cId="3828354993" sldId="333"/>
            <ac:spMk id="12" creationId="{09569C44-7650-5C18-234E-92CACB96FC13}"/>
          </ac:spMkLst>
        </pc:spChg>
        <pc:spChg chg="add del mod modVis">
          <ac:chgData name="Warren Heaps" userId="b5f776f4-d2aa-4752-837a-86796e4c6c94" providerId="ADAL" clId="{775E38DF-7547-4EB7-819D-F21CF3EEFCB6}" dt="2025-10-08T01:20:07.035" v="74853"/>
          <ac:spMkLst>
            <pc:docMk/>
            <pc:sldMk cId="3828354993" sldId="333"/>
            <ac:spMk id="13" creationId="{D051D8FE-1C76-A8D2-4B40-0604406AC78A}"/>
          </ac:spMkLst>
        </pc:spChg>
        <pc:spChg chg="add del mod modVis">
          <ac:chgData name="Warren Heaps" userId="b5f776f4-d2aa-4752-837a-86796e4c6c94" providerId="ADAL" clId="{775E38DF-7547-4EB7-819D-F21CF3EEFCB6}" dt="2025-10-08T01:20:08.667" v="74880"/>
          <ac:spMkLst>
            <pc:docMk/>
            <pc:sldMk cId="3828354993" sldId="333"/>
            <ac:spMk id="14" creationId="{65B35BC7-3114-A744-2035-42C9C3DB1EBD}"/>
          </ac:spMkLst>
        </pc:spChg>
        <pc:spChg chg="add del mod modVis">
          <ac:chgData name="Warren Heaps" userId="b5f776f4-d2aa-4752-837a-86796e4c6c94" providerId="ADAL" clId="{775E38DF-7547-4EB7-819D-F21CF3EEFCB6}" dt="2025-10-08T01:20:09.939" v="74905"/>
          <ac:spMkLst>
            <pc:docMk/>
            <pc:sldMk cId="3828354993" sldId="333"/>
            <ac:spMk id="15" creationId="{D09B3962-12DE-163E-2F1D-B72FE258656C}"/>
          </ac:spMkLst>
        </pc:spChg>
        <pc:spChg chg="add mod">
          <ac:chgData name="Warren Heaps" userId="b5f776f4-d2aa-4752-837a-86796e4c6c94" providerId="ADAL" clId="{775E38DF-7547-4EB7-819D-F21CF3EEFCB6}" dt="2025-10-08T01:49:15.500" v="80686"/>
          <ac:spMkLst>
            <pc:docMk/>
            <pc:sldMk cId="3828354993" sldId="333"/>
            <ac:spMk id="16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01:20:20.426" v="74989"/>
          <ac:spMkLst>
            <pc:docMk/>
            <pc:sldMk cId="3828354993" sldId="333"/>
            <ac:spMk id="17" creationId="{A642BEBA-3209-41B5-A733-BD15BA352EB9}"/>
          </ac:spMkLst>
        </pc:spChg>
        <pc:spChg chg="add del mod modVis">
          <ac:chgData name="Warren Heaps" userId="b5f776f4-d2aa-4752-837a-86796e4c6c94" providerId="ADAL" clId="{775E38DF-7547-4EB7-819D-F21CF3EEFCB6}" dt="2025-10-08T01:20:52.557" v="75022"/>
          <ac:spMkLst>
            <pc:docMk/>
            <pc:sldMk cId="3828354993" sldId="333"/>
            <ac:spMk id="18" creationId="{5960C2B7-2268-C421-4F66-E61C118CD881}"/>
          </ac:spMkLst>
        </pc:spChg>
        <pc:spChg chg="add del mod modVis">
          <ac:chgData name="Warren Heaps" userId="b5f776f4-d2aa-4752-837a-86796e4c6c94" providerId="ADAL" clId="{775E38DF-7547-4EB7-819D-F21CF3EEFCB6}" dt="2025-10-08T01:20:57.655" v="75055"/>
          <ac:spMkLst>
            <pc:docMk/>
            <pc:sldMk cId="3828354993" sldId="333"/>
            <ac:spMk id="19" creationId="{7B1F57E6-8B97-9103-B13D-F90B59E70B2D}"/>
          </ac:spMkLst>
        </pc:spChg>
        <pc:spChg chg="add del mod modVis">
          <ac:chgData name="Warren Heaps" userId="b5f776f4-d2aa-4752-837a-86796e4c6c94" providerId="ADAL" clId="{775E38DF-7547-4EB7-819D-F21CF3EEFCB6}" dt="2025-10-08T01:21:54.465" v="75178"/>
          <ac:spMkLst>
            <pc:docMk/>
            <pc:sldMk cId="3828354993" sldId="333"/>
            <ac:spMk id="20" creationId="{AC0806C4-E4AB-5A1A-2892-809C8BF9C07D}"/>
          </ac:spMkLst>
        </pc:spChg>
        <pc:spChg chg="add del mod modVis">
          <ac:chgData name="Warren Heaps" userId="b5f776f4-d2aa-4752-837a-86796e4c6c94" providerId="ADAL" clId="{775E38DF-7547-4EB7-819D-F21CF3EEFCB6}" dt="2025-10-08T01:21:55.318" v="75205"/>
          <ac:spMkLst>
            <pc:docMk/>
            <pc:sldMk cId="3828354993" sldId="333"/>
            <ac:spMk id="21" creationId="{1DEA8FB7-AB01-1125-7FB4-7FAD578CF4DE}"/>
          </ac:spMkLst>
        </pc:spChg>
        <pc:spChg chg="add del mod modVis">
          <ac:chgData name="Warren Heaps" userId="b5f776f4-d2aa-4752-837a-86796e4c6c94" providerId="ADAL" clId="{775E38DF-7547-4EB7-819D-F21CF3EEFCB6}" dt="2025-10-08T01:21:57.007" v="75232"/>
          <ac:spMkLst>
            <pc:docMk/>
            <pc:sldMk cId="3828354993" sldId="333"/>
            <ac:spMk id="22" creationId="{34E5D336-B435-DB7A-4A57-2BF110DEC7CD}"/>
          </ac:spMkLst>
        </pc:spChg>
        <pc:spChg chg="add del mod modVis">
          <ac:chgData name="Warren Heaps" userId="b5f776f4-d2aa-4752-837a-86796e4c6c94" providerId="ADAL" clId="{775E38DF-7547-4EB7-819D-F21CF3EEFCB6}" dt="2025-10-08T01:21:58.320" v="75262"/>
          <ac:spMkLst>
            <pc:docMk/>
            <pc:sldMk cId="3828354993" sldId="333"/>
            <ac:spMk id="23" creationId="{C165FDD7-352C-E609-69C0-1F6EB6DC8869}"/>
          </ac:spMkLst>
        </pc:spChg>
        <pc:spChg chg="add del mod modVis">
          <ac:chgData name="Warren Heaps" userId="b5f776f4-d2aa-4752-837a-86796e4c6c94" providerId="ADAL" clId="{775E38DF-7547-4EB7-819D-F21CF3EEFCB6}" dt="2025-10-08T01:22:01.186" v="75287"/>
          <ac:spMkLst>
            <pc:docMk/>
            <pc:sldMk cId="3828354993" sldId="333"/>
            <ac:spMk id="24" creationId="{3FF10F91-FBA0-30AF-9665-2CBF3F5BC625}"/>
          </ac:spMkLst>
        </pc:spChg>
        <pc:spChg chg="add del mod modVis">
          <ac:chgData name="Warren Heaps" userId="b5f776f4-d2aa-4752-837a-86796e4c6c94" providerId="ADAL" clId="{775E38DF-7547-4EB7-819D-F21CF3EEFCB6}" dt="2025-10-08T01:22:03.944" v="75313"/>
          <ac:spMkLst>
            <pc:docMk/>
            <pc:sldMk cId="3828354993" sldId="333"/>
            <ac:spMk id="25" creationId="{001E6496-D265-8623-A871-98A34112547A}"/>
          </ac:spMkLst>
        </pc:spChg>
        <pc:spChg chg="add mod">
          <ac:chgData name="Warren Heaps" userId="b5f776f4-d2aa-4752-837a-86796e4c6c94" providerId="ADAL" clId="{775E38DF-7547-4EB7-819D-F21CF3EEFCB6}" dt="2025-10-08T01:49:15.526" v="80697"/>
          <ac:spMkLst>
            <pc:docMk/>
            <pc:sldMk cId="3828354993" sldId="333"/>
            <ac:spMk id="26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01:22:31.845" v="75643"/>
          <ac:spMkLst>
            <pc:docMk/>
            <pc:sldMk cId="3828354993" sldId="333"/>
            <ac:spMk id="27" creationId="{BB4BDD52-5771-204F-CF30-449BBC6B3C25}"/>
          </ac:spMkLst>
        </pc:spChg>
        <pc:spChg chg="add mod">
          <ac:chgData name="Warren Heaps" userId="b5f776f4-d2aa-4752-837a-86796e4c6c94" providerId="ADAL" clId="{775E38DF-7547-4EB7-819D-F21CF3EEFCB6}" dt="2025-10-08T01:49:15.530" v="80698"/>
          <ac:spMkLst>
            <pc:docMk/>
            <pc:sldMk cId="3828354993" sldId="333"/>
            <ac:spMk id="28" creationId="{885371E8-7632-3C4A-ADA5-1A7187B6BE78}"/>
          </ac:spMkLst>
        </pc:spChg>
        <pc:spChg chg="add mod">
          <ac:chgData name="Warren Heaps" userId="b5f776f4-d2aa-4752-837a-86796e4c6c94" providerId="ADAL" clId="{775E38DF-7547-4EB7-819D-F21CF3EEFCB6}" dt="2025-10-08T01:49:15.516" v="80689"/>
          <ac:spMkLst>
            <pc:docMk/>
            <pc:sldMk cId="3828354993" sldId="333"/>
            <ac:spMk id="29" creationId="{885371E8-7632-3C4A-ADA5-1A7187B6BE78}"/>
          </ac:spMkLst>
        </pc:spChg>
        <pc:spChg chg="add del mod">
          <ac:chgData name="Warren Heaps" userId="b5f776f4-d2aa-4752-837a-86796e4c6c94" providerId="ADAL" clId="{775E38DF-7547-4EB7-819D-F21CF3EEFCB6}" dt="2025-10-08T01:22:53.402" v="75684"/>
          <ac:spMkLst>
            <pc:docMk/>
            <pc:sldMk cId="3828354993" sldId="333"/>
            <ac:spMk id="30" creationId="{885371E8-7632-3C4A-ADA5-1A7187B6BE78}"/>
          </ac:spMkLst>
        </pc:spChg>
        <pc:spChg chg="add del mod">
          <ac:chgData name="Warren Heaps" userId="b5f776f4-d2aa-4752-837a-86796e4c6c94" providerId="ADAL" clId="{775E38DF-7547-4EB7-819D-F21CF3EEFCB6}" dt="2025-10-08T01:22:53.410" v="75686"/>
          <ac:spMkLst>
            <pc:docMk/>
            <pc:sldMk cId="3828354993" sldId="333"/>
            <ac:spMk id="31" creationId="{885371E8-7632-3C4A-ADA5-1A7187B6BE78}"/>
          </ac:spMkLst>
        </pc:spChg>
        <pc:spChg chg="add mod ord">
          <ac:chgData name="Warren Heaps" userId="b5f776f4-d2aa-4752-837a-86796e4c6c94" providerId="ADAL" clId="{775E38DF-7547-4EB7-819D-F21CF3EEFCB6}" dt="2025-10-08T01:49:15.522" v="80694"/>
          <ac:spMkLst>
            <pc:docMk/>
            <pc:sldMk cId="3828354993" sldId="333"/>
            <ac:spMk id="33" creationId="{6FE2CA5E-F8CA-FD17-8263-DF3CF50EE021}"/>
          </ac:spMkLst>
        </pc:spChg>
        <pc:spChg chg="add mod ord">
          <ac:chgData name="Warren Heaps" userId="b5f776f4-d2aa-4752-837a-86796e4c6c94" providerId="ADAL" clId="{775E38DF-7547-4EB7-819D-F21CF3EEFCB6}" dt="2025-10-08T01:49:15.525" v="80696"/>
          <ac:spMkLst>
            <pc:docMk/>
            <pc:sldMk cId="3828354993" sldId="333"/>
            <ac:spMk id="34" creationId="{97CD4C92-EF71-FAC2-22F4-B43DFED42206}"/>
          </ac:spMkLst>
        </pc:spChg>
        <pc:spChg chg="add del mod modVis">
          <ac:chgData name="Warren Heaps" userId="b5f776f4-d2aa-4752-837a-86796e4c6c94" providerId="ADAL" clId="{775E38DF-7547-4EB7-819D-F21CF3EEFCB6}" dt="2025-10-08T01:22:53.540" v="75710"/>
          <ac:spMkLst>
            <pc:docMk/>
            <pc:sldMk cId="3828354993" sldId="333"/>
            <ac:spMk id="35" creationId="{D4934414-1975-365C-54F6-5DA225B42782}"/>
          </ac:spMkLst>
        </pc:spChg>
        <pc:spChg chg="add mod">
          <ac:chgData name="Warren Heaps" userId="b5f776f4-d2aa-4752-837a-86796e4c6c94" providerId="ADAL" clId="{775E38DF-7547-4EB7-819D-F21CF3EEFCB6}" dt="2025-10-08T01:49:15.518" v="80690"/>
          <ac:spMkLst>
            <pc:docMk/>
            <pc:sldMk cId="3828354993" sldId="333"/>
            <ac:spMk id="37" creationId="{41BF6867-CF35-6B9C-43AB-83A4C9745663}"/>
          </ac:spMkLst>
        </pc:spChg>
        <pc:spChg chg="add del mod modVis">
          <ac:chgData name="Warren Heaps" userId="b5f776f4-d2aa-4752-837a-86796e4c6c94" providerId="ADAL" clId="{775E38DF-7547-4EB7-819D-F21CF3EEFCB6}" dt="2025-10-08T01:23:05.720" v="75773"/>
          <ac:spMkLst>
            <pc:docMk/>
            <pc:sldMk cId="3828354993" sldId="333"/>
            <ac:spMk id="38" creationId="{486165A3-C074-2CBD-2484-59EE3AD12C84}"/>
          </ac:spMkLst>
        </pc:spChg>
        <pc:spChg chg="add mod">
          <ac:chgData name="Warren Heaps" userId="b5f776f4-d2aa-4752-837a-86796e4c6c94" providerId="ADAL" clId="{775E38DF-7547-4EB7-819D-F21CF3EEFCB6}" dt="2025-10-08T01:49:15.519" v="80691"/>
          <ac:spMkLst>
            <pc:docMk/>
            <pc:sldMk cId="3828354993" sldId="333"/>
            <ac:spMk id="40" creationId="{00167C4E-DBEF-9A52-A5FD-4AA96A95B389}"/>
          </ac:spMkLst>
        </pc:spChg>
        <pc:spChg chg="add del mod modVis">
          <ac:chgData name="Warren Heaps" userId="b5f776f4-d2aa-4752-837a-86796e4c6c94" providerId="ADAL" clId="{775E38DF-7547-4EB7-819D-F21CF3EEFCB6}" dt="2025-10-08T01:23:15.276" v="75832"/>
          <ac:spMkLst>
            <pc:docMk/>
            <pc:sldMk cId="3828354993" sldId="333"/>
            <ac:spMk id="41" creationId="{FC5ED509-175E-027C-DAD6-07C855582FAF}"/>
          </ac:spMkLst>
        </pc:spChg>
        <pc:spChg chg="add del mod modVis">
          <ac:chgData name="Warren Heaps" userId="b5f776f4-d2aa-4752-837a-86796e4c6c94" providerId="ADAL" clId="{775E38DF-7547-4EB7-819D-F21CF3EEFCB6}" dt="2025-10-08T01:23:27.994" v="75886"/>
          <ac:spMkLst>
            <pc:docMk/>
            <pc:sldMk cId="3828354993" sldId="333"/>
            <ac:spMk id="43" creationId="{1C6290C1-170F-8536-60FD-9D1635000E40}"/>
          </ac:spMkLst>
        </pc:spChg>
        <pc:spChg chg="add del mod modVis">
          <ac:chgData name="Warren Heaps" userId="b5f776f4-d2aa-4752-837a-86796e4c6c94" providerId="ADAL" clId="{775E38DF-7547-4EB7-819D-F21CF3EEFCB6}" dt="2025-10-08T01:23:34.319" v="75940"/>
          <ac:spMkLst>
            <pc:docMk/>
            <pc:sldMk cId="3828354993" sldId="333"/>
            <ac:spMk id="45" creationId="{95FF60F2-46C0-AD4C-4113-5F6F830C5022}"/>
          </ac:spMkLst>
        </pc:spChg>
        <pc:spChg chg="add del mod modVis">
          <ac:chgData name="Warren Heaps" userId="b5f776f4-d2aa-4752-837a-86796e4c6c94" providerId="ADAL" clId="{775E38DF-7547-4EB7-819D-F21CF3EEFCB6}" dt="2025-10-08T01:23:44.776" v="75982"/>
          <ac:spMkLst>
            <pc:docMk/>
            <pc:sldMk cId="3828354993" sldId="333"/>
            <ac:spMk id="47" creationId="{10804E50-4245-59BE-5478-B64AD28747E9}"/>
          </ac:spMkLst>
        </pc:spChg>
        <pc:spChg chg="add del mod modVis">
          <ac:chgData name="Warren Heaps" userId="b5f776f4-d2aa-4752-837a-86796e4c6c94" providerId="ADAL" clId="{775E38DF-7547-4EB7-819D-F21CF3EEFCB6}" dt="2025-10-08T01:23:53.784" v="76024"/>
          <ac:spMkLst>
            <pc:docMk/>
            <pc:sldMk cId="3828354993" sldId="333"/>
            <ac:spMk id="49" creationId="{BD63DB02-AC7F-F209-E7D9-A1BE53DFBF5F}"/>
          </ac:spMkLst>
        </pc:spChg>
        <pc:spChg chg="add del mod modVis">
          <ac:chgData name="Warren Heaps" userId="b5f776f4-d2aa-4752-837a-86796e4c6c94" providerId="ADAL" clId="{775E38DF-7547-4EB7-819D-F21CF3EEFCB6}" dt="2025-10-08T01:23:59.650" v="76066"/>
          <ac:spMkLst>
            <pc:docMk/>
            <pc:sldMk cId="3828354993" sldId="333"/>
            <ac:spMk id="51" creationId="{21651EBF-830C-5B29-C4D2-A2BC976A4F62}"/>
          </ac:spMkLst>
        </pc:spChg>
        <pc:spChg chg="add del mod modVis">
          <ac:chgData name="Warren Heaps" userId="b5f776f4-d2aa-4752-837a-86796e4c6c94" providerId="ADAL" clId="{775E38DF-7547-4EB7-819D-F21CF3EEFCB6}" dt="2025-10-08T01:24:10.701" v="76108"/>
          <ac:spMkLst>
            <pc:docMk/>
            <pc:sldMk cId="3828354993" sldId="333"/>
            <ac:spMk id="53" creationId="{87DDB81F-2C37-6585-9720-B566641E9F4F}"/>
          </ac:spMkLst>
        </pc:spChg>
        <pc:spChg chg="add del mod modVis">
          <ac:chgData name="Warren Heaps" userId="b5f776f4-d2aa-4752-837a-86796e4c6c94" providerId="ADAL" clId="{775E38DF-7547-4EB7-819D-F21CF3EEFCB6}" dt="2025-10-08T01:24:52.205" v="76150"/>
          <ac:spMkLst>
            <pc:docMk/>
            <pc:sldMk cId="3828354993" sldId="333"/>
            <ac:spMk id="55" creationId="{CE8E87E4-A7EF-D2B1-5A2F-DF816AC3DA5C}"/>
          </ac:spMkLst>
        </pc:spChg>
        <pc:spChg chg="add del mod modVis">
          <ac:chgData name="Warren Heaps" userId="b5f776f4-d2aa-4752-837a-86796e4c6c94" providerId="ADAL" clId="{775E38DF-7547-4EB7-819D-F21CF3EEFCB6}" dt="2025-10-08T01:24:56.649" v="76192"/>
          <ac:spMkLst>
            <pc:docMk/>
            <pc:sldMk cId="3828354993" sldId="333"/>
            <ac:spMk id="57" creationId="{7177BF01-0859-9846-CA21-9C004BD752D7}"/>
          </ac:spMkLst>
        </pc:spChg>
        <pc:spChg chg="add del mod modVis">
          <ac:chgData name="Warren Heaps" userId="b5f776f4-d2aa-4752-837a-86796e4c6c94" providerId="ADAL" clId="{775E38DF-7547-4EB7-819D-F21CF3EEFCB6}" dt="2025-10-08T01:25:02.258" v="76234"/>
          <ac:spMkLst>
            <pc:docMk/>
            <pc:sldMk cId="3828354993" sldId="333"/>
            <ac:spMk id="59" creationId="{ECFED08A-BE87-EA47-78B6-ED0578083185}"/>
          </ac:spMkLst>
        </pc:spChg>
        <pc:spChg chg="add del mod modVis">
          <ac:chgData name="Warren Heaps" userId="b5f776f4-d2aa-4752-837a-86796e4c6c94" providerId="ADAL" clId="{775E38DF-7547-4EB7-819D-F21CF3EEFCB6}" dt="2025-10-08T01:25:07.988" v="76276"/>
          <ac:spMkLst>
            <pc:docMk/>
            <pc:sldMk cId="3828354993" sldId="333"/>
            <ac:spMk id="61" creationId="{DA605A68-F35F-2272-2919-74AEC8CE856C}"/>
          </ac:spMkLst>
        </pc:spChg>
        <pc:spChg chg="add del mod">
          <ac:chgData name="Warren Heaps" userId="b5f776f4-d2aa-4752-837a-86796e4c6c94" providerId="ADAL" clId="{775E38DF-7547-4EB7-819D-F21CF3EEFCB6}" dt="2025-10-08T01:25:42.558" v="76455"/>
          <ac:spMkLst>
            <pc:docMk/>
            <pc:sldMk cId="3828354993" sldId="333"/>
            <ac:spMk id="65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01:25:34.035" v="76452"/>
          <ac:spMkLst>
            <pc:docMk/>
            <pc:sldMk cId="3828354993" sldId="333"/>
            <ac:spMk id="66" creationId="{1A3BABFD-C95B-68B3-A528-4331A9588286}"/>
          </ac:spMkLst>
        </pc:spChg>
        <pc:spChg chg="add del mod modVis">
          <ac:chgData name="Warren Heaps" userId="b5f776f4-d2aa-4752-837a-86796e4c6c94" providerId="ADAL" clId="{775E38DF-7547-4EB7-819D-F21CF3EEFCB6}" dt="2025-10-08T01:25:56.006" v="76596"/>
          <ac:spMkLst>
            <pc:docMk/>
            <pc:sldMk cId="3828354993" sldId="333"/>
            <ac:spMk id="69" creationId="{0ED35E48-FE3F-70C5-4A36-EF882AF488E4}"/>
          </ac:spMkLst>
        </pc:spChg>
        <pc:spChg chg="add del mod modVis">
          <ac:chgData name="Warren Heaps" userId="b5f776f4-d2aa-4752-837a-86796e4c6c94" providerId="ADAL" clId="{775E38DF-7547-4EB7-819D-F21CF3EEFCB6}" dt="2025-10-08T01:26:08.239" v="76677"/>
          <ac:spMkLst>
            <pc:docMk/>
            <pc:sldMk cId="3828354993" sldId="333"/>
            <ac:spMk id="71" creationId="{B97EB08F-646D-D6C3-E6FE-22DE62153694}"/>
          </ac:spMkLst>
        </pc:spChg>
        <pc:spChg chg="add del mod">
          <ac:chgData name="Warren Heaps" userId="b5f776f4-d2aa-4752-837a-86796e4c6c94" providerId="ADAL" clId="{775E38DF-7547-4EB7-819D-F21CF3EEFCB6}" dt="2025-10-08T01:26:18.174" v="76776"/>
          <ac:spMkLst>
            <pc:docMk/>
            <pc:sldMk cId="3828354993" sldId="333"/>
            <ac:spMk id="73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01:26:12.304" v="76773"/>
          <ac:spMkLst>
            <pc:docMk/>
            <pc:sldMk cId="3828354993" sldId="333"/>
            <ac:spMk id="74" creationId="{B80187CE-25EE-89A5-CE22-F9034C355C22}"/>
          </ac:spMkLst>
        </pc:spChg>
        <pc:spChg chg="add del mod modVis">
          <ac:chgData name="Warren Heaps" userId="b5f776f4-d2aa-4752-837a-86796e4c6c94" providerId="ADAL" clId="{775E38DF-7547-4EB7-819D-F21CF3EEFCB6}" dt="2025-10-08T01:26:22.272" v="76848"/>
          <ac:spMkLst>
            <pc:docMk/>
            <pc:sldMk cId="3828354993" sldId="333"/>
            <ac:spMk id="77" creationId="{1D20CFC6-6125-3120-389D-10B29F56502A}"/>
          </ac:spMkLst>
        </pc:spChg>
        <pc:spChg chg="add mod">
          <ac:chgData name="Warren Heaps" userId="b5f776f4-d2aa-4752-837a-86796e4c6c94" providerId="ADAL" clId="{775E38DF-7547-4EB7-819D-F21CF3EEFCB6}" dt="2025-10-08T01:49:15.532" v="80699"/>
          <ac:spMkLst>
            <pc:docMk/>
            <pc:sldMk cId="3828354993" sldId="333"/>
            <ac:spMk id="80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01:27:42.624" v="77067"/>
          <ac:spMkLst>
            <pc:docMk/>
            <pc:sldMk cId="3828354993" sldId="333"/>
            <ac:spMk id="81" creationId="{B0D75E21-7FB2-AA6A-A12C-8BC5FF6DD4AC}"/>
          </ac:spMkLst>
        </pc:spChg>
        <pc:spChg chg="add del mod modVis">
          <ac:chgData name="Warren Heaps" userId="b5f776f4-d2aa-4752-837a-86796e4c6c94" providerId="ADAL" clId="{775E38DF-7547-4EB7-819D-F21CF3EEFCB6}" dt="2025-10-08T01:27:52.415" v="77109"/>
          <ac:spMkLst>
            <pc:docMk/>
            <pc:sldMk cId="3828354993" sldId="333"/>
            <ac:spMk id="82" creationId="{B2C3AF0B-8DAE-87C1-29D5-2734A8B68DDF}"/>
          </ac:spMkLst>
        </pc:spChg>
        <pc:spChg chg="add del mod modVis">
          <ac:chgData name="Warren Heaps" userId="b5f776f4-d2aa-4752-837a-86796e4c6c94" providerId="ADAL" clId="{775E38DF-7547-4EB7-819D-F21CF3EEFCB6}" dt="2025-10-08T01:27:53.610" v="77136"/>
          <ac:spMkLst>
            <pc:docMk/>
            <pc:sldMk cId="3828354993" sldId="333"/>
            <ac:spMk id="83" creationId="{96DD0B85-5DCE-B732-906E-39F37584EA5F}"/>
          </ac:spMkLst>
        </pc:spChg>
        <pc:spChg chg="add del mod modVis">
          <ac:chgData name="Warren Heaps" userId="b5f776f4-d2aa-4752-837a-86796e4c6c94" providerId="ADAL" clId="{775E38DF-7547-4EB7-819D-F21CF3EEFCB6}" dt="2025-10-08T01:27:55.849" v="77168"/>
          <ac:spMkLst>
            <pc:docMk/>
            <pc:sldMk cId="3828354993" sldId="333"/>
            <ac:spMk id="84" creationId="{0508248F-29B2-E7DC-7049-291A0E2027A9}"/>
          </ac:spMkLst>
        </pc:spChg>
        <pc:spChg chg="add del mod modVis">
          <ac:chgData name="Warren Heaps" userId="b5f776f4-d2aa-4752-837a-86796e4c6c94" providerId="ADAL" clId="{775E38DF-7547-4EB7-819D-F21CF3EEFCB6}" dt="2025-10-08T01:27:58.538" v="77196"/>
          <ac:spMkLst>
            <pc:docMk/>
            <pc:sldMk cId="3828354993" sldId="333"/>
            <ac:spMk id="85" creationId="{F932D34D-1C6D-ED08-5B06-A76CA37D1BA6}"/>
          </ac:spMkLst>
        </pc:spChg>
        <pc:spChg chg="add del mod modVis">
          <ac:chgData name="Warren Heaps" userId="b5f776f4-d2aa-4752-837a-86796e4c6c94" providerId="ADAL" clId="{775E38DF-7547-4EB7-819D-F21CF3EEFCB6}" dt="2025-10-08T01:28:01.778" v="77223"/>
          <ac:spMkLst>
            <pc:docMk/>
            <pc:sldMk cId="3828354993" sldId="333"/>
            <ac:spMk id="86" creationId="{46648FB4-DE98-D79E-E7B1-24E18BA5942F}"/>
          </ac:spMkLst>
        </pc:spChg>
        <pc:spChg chg="add del mod modVis">
          <ac:chgData name="Warren Heaps" userId="b5f776f4-d2aa-4752-837a-86796e4c6c94" providerId="ADAL" clId="{775E38DF-7547-4EB7-819D-F21CF3EEFCB6}" dt="2025-10-08T01:28:02.484" v="77248"/>
          <ac:spMkLst>
            <pc:docMk/>
            <pc:sldMk cId="3828354993" sldId="333"/>
            <ac:spMk id="87" creationId="{BE13A683-13BC-C8CE-7B95-A7D9DA6809CF}"/>
          </ac:spMkLst>
        </pc:spChg>
        <pc:spChg chg="add del mod modVis">
          <ac:chgData name="Warren Heaps" userId="b5f776f4-d2aa-4752-837a-86796e4c6c94" providerId="ADAL" clId="{775E38DF-7547-4EB7-819D-F21CF3EEFCB6}" dt="2025-10-08T01:28:04.237" v="77278"/>
          <ac:spMkLst>
            <pc:docMk/>
            <pc:sldMk cId="3828354993" sldId="333"/>
            <ac:spMk id="88" creationId="{6B258C19-6143-4613-D5EB-218E2E227824}"/>
          </ac:spMkLst>
        </pc:spChg>
        <pc:spChg chg="add del mod modVis">
          <ac:chgData name="Warren Heaps" userId="b5f776f4-d2aa-4752-837a-86796e4c6c94" providerId="ADAL" clId="{775E38DF-7547-4EB7-819D-F21CF3EEFCB6}" dt="2025-10-08T01:28:04.855" v="77303"/>
          <ac:spMkLst>
            <pc:docMk/>
            <pc:sldMk cId="3828354993" sldId="333"/>
            <ac:spMk id="89" creationId="{1FFA33B0-AA97-72D8-8C39-4C0AF3ABF3D8}"/>
          </ac:spMkLst>
        </pc:spChg>
        <pc:spChg chg="add del mod modVis">
          <ac:chgData name="Warren Heaps" userId="b5f776f4-d2aa-4752-837a-86796e4c6c94" providerId="ADAL" clId="{775E38DF-7547-4EB7-819D-F21CF3EEFCB6}" dt="2025-10-08T01:28:18.879" v="77344"/>
          <ac:spMkLst>
            <pc:docMk/>
            <pc:sldMk cId="3828354993" sldId="333"/>
            <ac:spMk id="90" creationId="{B8ADB3CA-D4A2-15BA-9E9C-560D247DD5D8}"/>
          </ac:spMkLst>
        </pc:spChg>
        <pc:spChg chg="add del mod modVis">
          <ac:chgData name="Warren Heaps" userId="b5f776f4-d2aa-4752-837a-86796e4c6c94" providerId="ADAL" clId="{775E38DF-7547-4EB7-819D-F21CF3EEFCB6}" dt="2025-10-08T01:28:32.004" v="77376"/>
          <ac:spMkLst>
            <pc:docMk/>
            <pc:sldMk cId="3828354993" sldId="333"/>
            <ac:spMk id="91" creationId="{6FB2F830-702F-C59E-1B8D-BCCD237A7AFE}"/>
          </ac:spMkLst>
        </pc:spChg>
        <pc:spChg chg="add del mod modVis">
          <ac:chgData name="Warren Heaps" userId="b5f776f4-d2aa-4752-837a-86796e4c6c94" providerId="ADAL" clId="{775E38DF-7547-4EB7-819D-F21CF3EEFCB6}" dt="2025-10-08T01:28:33.749" v="77403"/>
          <ac:spMkLst>
            <pc:docMk/>
            <pc:sldMk cId="3828354993" sldId="333"/>
            <ac:spMk id="92" creationId="{FB098EC7-1358-D5AA-3FAB-453D641A1C3D}"/>
          </ac:spMkLst>
        </pc:spChg>
        <pc:spChg chg="add del mod modVis">
          <ac:chgData name="Warren Heaps" userId="b5f776f4-d2aa-4752-837a-86796e4c6c94" providerId="ADAL" clId="{775E38DF-7547-4EB7-819D-F21CF3EEFCB6}" dt="2025-10-08T01:28:36.324" v="77436"/>
          <ac:spMkLst>
            <pc:docMk/>
            <pc:sldMk cId="3828354993" sldId="333"/>
            <ac:spMk id="93" creationId="{3FE6FA54-4404-9D55-6623-AC1DA4405EF1}"/>
          </ac:spMkLst>
        </pc:spChg>
        <pc:spChg chg="add del mod modVis">
          <ac:chgData name="Warren Heaps" userId="b5f776f4-d2aa-4752-837a-86796e4c6c94" providerId="ADAL" clId="{775E38DF-7547-4EB7-819D-F21CF3EEFCB6}" dt="2025-10-08T01:28:43.491" v="77472"/>
          <ac:spMkLst>
            <pc:docMk/>
            <pc:sldMk cId="3828354993" sldId="333"/>
            <ac:spMk id="94" creationId="{E5DDEC80-6033-9B27-21E4-493054081867}"/>
          </ac:spMkLst>
        </pc:spChg>
        <pc:spChg chg="add del mod modVis">
          <ac:chgData name="Warren Heaps" userId="b5f776f4-d2aa-4752-837a-86796e4c6c94" providerId="ADAL" clId="{775E38DF-7547-4EB7-819D-F21CF3EEFCB6}" dt="2025-10-08T01:28:44.558" v="77518"/>
          <ac:spMkLst>
            <pc:docMk/>
            <pc:sldMk cId="3828354993" sldId="333"/>
            <ac:spMk id="95" creationId="{FBE747F3-A1EA-D5B9-EAA2-CD1D48DC44B2}"/>
          </ac:spMkLst>
        </pc:spChg>
        <pc:spChg chg="add del mod modVis">
          <ac:chgData name="Warren Heaps" userId="b5f776f4-d2aa-4752-837a-86796e4c6c94" providerId="ADAL" clId="{775E38DF-7547-4EB7-819D-F21CF3EEFCB6}" dt="2025-10-08T01:28:48.939" v="77548"/>
          <ac:spMkLst>
            <pc:docMk/>
            <pc:sldMk cId="3828354993" sldId="333"/>
            <ac:spMk id="96" creationId="{28A39B86-50F1-1204-2DC4-17F517DC3DAA}"/>
          </ac:spMkLst>
        </pc:spChg>
        <pc:spChg chg="add del mod modVis">
          <ac:chgData name="Warren Heaps" userId="b5f776f4-d2aa-4752-837a-86796e4c6c94" providerId="ADAL" clId="{775E38DF-7547-4EB7-819D-F21CF3EEFCB6}" dt="2025-10-08T01:29:31.605" v="77649"/>
          <ac:spMkLst>
            <pc:docMk/>
            <pc:sldMk cId="3828354993" sldId="333"/>
            <ac:spMk id="99" creationId="{AD58CEBC-4FDF-40A0-A441-16A742D36037}"/>
          </ac:spMkLst>
        </pc:spChg>
        <pc:spChg chg="add del mod modVis">
          <ac:chgData name="Warren Heaps" userId="b5f776f4-d2aa-4752-837a-86796e4c6c94" providerId="ADAL" clId="{775E38DF-7547-4EB7-819D-F21CF3EEFCB6}" dt="2025-10-08T01:29:33.601" v="77687"/>
          <ac:spMkLst>
            <pc:docMk/>
            <pc:sldMk cId="3828354993" sldId="333"/>
            <ac:spMk id="100" creationId="{1F115A66-863D-3CDF-E970-527D55AF149E}"/>
          </ac:spMkLst>
        </pc:spChg>
        <pc:spChg chg="add del mod modVis">
          <ac:chgData name="Warren Heaps" userId="b5f776f4-d2aa-4752-837a-86796e4c6c94" providerId="ADAL" clId="{775E38DF-7547-4EB7-819D-F21CF3EEFCB6}" dt="2025-10-08T01:29:34.250" v="77720"/>
          <ac:spMkLst>
            <pc:docMk/>
            <pc:sldMk cId="3828354993" sldId="333"/>
            <ac:spMk id="101" creationId="{CB2FFF4F-7605-6CF3-891E-43DC02A50DAF}"/>
          </ac:spMkLst>
        </pc:spChg>
        <pc:spChg chg="add del mod modVis">
          <ac:chgData name="Warren Heaps" userId="b5f776f4-d2aa-4752-837a-86796e4c6c94" providerId="ADAL" clId="{775E38DF-7547-4EB7-819D-F21CF3EEFCB6}" dt="2025-10-08T01:29:36.799" v="77753"/>
          <ac:spMkLst>
            <pc:docMk/>
            <pc:sldMk cId="3828354993" sldId="333"/>
            <ac:spMk id="102" creationId="{5B3528C4-C802-7FE2-03A0-08FDEEB78A9A}"/>
          </ac:spMkLst>
        </pc:spChg>
        <pc:spChg chg="add del mod modVis">
          <ac:chgData name="Warren Heaps" userId="b5f776f4-d2aa-4752-837a-86796e4c6c94" providerId="ADAL" clId="{775E38DF-7547-4EB7-819D-F21CF3EEFCB6}" dt="2025-10-08T01:29:37.887" v="77787"/>
          <ac:spMkLst>
            <pc:docMk/>
            <pc:sldMk cId="3828354993" sldId="333"/>
            <ac:spMk id="103" creationId="{61AC7D3C-3CE0-8155-264C-83166BFC6467}"/>
          </ac:spMkLst>
        </pc:spChg>
        <pc:spChg chg="add del mod modVis">
          <ac:chgData name="Warren Heaps" userId="b5f776f4-d2aa-4752-837a-86796e4c6c94" providerId="ADAL" clId="{775E38DF-7547-4EB7-819D-F21CF3EEFCB6}" dt="2025-10-08T01:29:39.566" v="77820"/>
          <ac:spMkLst>
            <pc:docMk/>
            <pc:sldMk cId="3828354993" sldId="333"/>
            <ac:spMk id="104" creationId="{8F24E6B9-BDD7-5D57-2EDC-33FDB4ABAA3D}"/>
          </ac:spMkLst>
        </pc:spChg>
        <pc:spChg chg="add del mod modVis">
          <ac:chgData name="Warren Heaps" userId="b5f776f4-d2aa-4752-837a-86796e4c6c94" providerId="ADAL" clId="{775E38DF-7547-4EB7-819D-F21CF3EEFCB6}" dt="2025-10-08T01:29:40.401" v="77854"/>
          <ac:spMkLst>
            <pc:docMk/>
            <pc:sldMk cId="3828354993" sldId="333"/>
            <ac:spMk id="105" creationId="{AE4D9967-9526-E121-BA15-3D41CFAD5DD1}"/>
          </ac:spMkLst>
        </pc:spChg>
        <pc:spChg chg="add del mod modVis">
          <ac:chgData name="Warren Heaps" userId="b5f776f4-d2aa-4752-837a-86796e4c6c94" providerId="ADAL" clId="{775E38DF-7547-4EB7-819D-F21CF3EEFCB6}" dt="2025-10-08T01:29:52.350" v="77888"/>
          <ac:spMkLst>
            <pc:docMk/>
            <pc:sldMk cId="3828354993" sldId="333"/>
            <ac:spMk id="106" creationId="{814726F8-40D1-6198-1BB0-109C11478DD9}"/>
          </ac:spMkLst>
        </pc:spChg>
        <pc:spChg chg="add del mod modVis">
          <ac:chgData name="Warren Heaps" userId="b5f776f4-d2aa-4752-837a-86796e4c6c94" providerId="ADAL" clId="{775E38DF-7547-4EB7-819D-F21CF3EEFCB6}" dt="2025-10-08T01:40:34.716" v="77927"/>
          <ac:spMkLst>
            <pc:docMk/>
            <pc:sldMk cId="3828354993" sldId="333"/>
            <ac:spMk id="107" creationId="{059E2047-1120-682C-7CFD-D6E367CC5BA3}"/>
          </ac:spMkLst>
        </pc:spChg>
        <pc:spChg chg="add del mod modVis">
          <ac:chgData name="Warren Heaps" userId="b5f776f4-d2aa-4752-837a-86796e4c6c94" providerId="ADAL" clId="{775E38DF-7547-4EB7-819D-F21CF3EEFCB6}" dt="2025-10-08T01:40:35.445" v="77960"/>
          <ac:spMkLst>
            <pc:docMk/>
            <pc:sldMk cId="3828354993" sldId="333"/>
            <ac:spMk id="108" creationId="{2FEBF4A8-0DC8-5758-FF39-DEC457A42C31}"/>
          </ac:spMkLst>
        </pc:spChg>
        <pc:spChg chg="add del mod modVis">
          <ac:chgData name="Warren Heaps" userId="b5f776f4-d2aa-4752-837a-86796e4c6c94" providerId="ADAL" clId="{775E38DF-7547-4EB7-819D-F21CF3EEFCB6}" dt="2025-10-08T01:40:41.087" v="78000"/>
          <ac:spMkLst>
            <pc:docMk/>
            <pc:sldMk cId="3828354993" sldId="333"/>
            <ac:spMk id="109" creationId="{83DB205A-003D-56B5-DDA1-828E8D8603E3}"/>
          </ac:spMkLst>
        </pc:spChg>
        <pc:spChg chg="add del mod modVis">
          <ac:chgData name="Warren Heaps" userId="b5f776f4-d2aa-4752-837a-86796e4c6c94" providerId="ADAL" clId="{775E38DF-7547-4EB7-819D-F21CF3EEFCB6}" dt="2025-10-08T01:40:47.874" v="78033"/>
          <ac:spMkLst>
            <pc:docMk/>
            <pc:sldMk cId="3828354993" sldId="333"/>
            <ac:spMk id="110" creationId="{A0B39DB6-0BE6-2FDF-2590-1809A1C477B3}"/>
          </ac:spMkLst>
        </pc:spChg>
        <pc:spChg chg="add del mod modVis">
          <ac:chgData name="Warren Heaps" userId="b5f776f4-d2aa-4752-837a-86796e4c6c94" providerId="ADAL" clId="{775E38DF-7547-4EB7-819D-F21CF3EEFCB6}" dt="2025-10-08T01:40:51.563" v="78068"/>
          <ac:spMkLst>
            <pc:docMk/>
            <pc:sldMk cId="3828354993" sldId="333"/>
            <ac:spMk id="111" creationId="{A2EB077E-346E-69E5-50DF-7800AC79C329}"/>
          </ac:spMkLst>
        </pc:spChg>
        <pc:spChg chg="add del mod modVis">
          <ac:chgData name="Warren Heaps" userId="b5f776f4-d2aa-4752-837a-86796e4c6c94" providerId="ADAL" clId="{775E38DF-7547-4EB7-819D-F21CF3EEFCB6}" dt="2025-10-08T01:40:52.936" v="78101"/>
          <ac:spMkLst>
            <pc:docMk/>
            <pc:sldMk cId="3828354993" sldId="333"/>
            <ac:spMk id="112" creationId="{628A0113-B8AA-8FD0-4819-D16C75A03EA1}"/>
          </ac:spMkLst>
        </pc:spChg>
        <pc:spChg chg="add del mod modVis">
          <ac:chgData name="Warren Heaps" userId="b5f776f4-d2aa-4752-837a-86796e4c6c94" providerId="ADAL" clId="{775E38DF-7547-4EB7-819D-F21CF3EEFCB6}" dt="2025-10-08T01:40:53.642" v="78134"/>
          <ac:spMkLst>
            <pc:docMk/>
            <pc:sldMk cId="3828354993" sldId="333"/>
            <ac:spMk id="113" creationId="{29D9F052-9EB9-EC63-A46F-29875418AD49}"/>
          </ac:spMkLst>
        </pc:spChg>
        <pc:spChg chg="add del mod modVis">
          <ac:chgData name="Warren Heaps" userId="b5f776f4-d2aa-4752-837a-86796e4c6c94" providerId="ADAL" clId="{775E38DF-7547-4EB7-819D-F21CF3EEFCB6}" dt="2025-10-08T01:40:56.951" v="78167"/>
          <ac:spMkLst>
            <pc:docMk/>
            <pc:sldMk cId="3828354993" sldId="333"/>
            <ac:spMk id="114" creationId="{AC9148AE-13F6-543A-B2C9-19ABA593DE4E}"/>
          </ac:spMkLst>
        </pc:spChg>
        <pc:spChg chg="add del mod modVis">
          <ac:chgData name="Warren Heaps" userId="b5f776f4-d2aa-4752-837a-86796e4c6c94" providerId="ADAL" clId="{775E38DF-7547-4EB7-819D-F21CF3EEFCB6}" dt="2025-10-08T01:40:59.618" v="78204"/>
          <ac:spMkLst>
            <pc:docMk/>
            <pc:sldMk cId="3828354993" sldId="333"/>
            <ac:spMk id="115" creationId="{46E7AC58-C8B9-B5A8-D06A-11DBF654EBA3}"/>
          </ac:spMkLst>
        </pc:spChg>
        <pc:spChg chg="add del mod modVis">
          <ac:chgData name="Warren Heaps" userId="b5f776f4-d2aa-4752-837a-86796e4c6c94" providerId="ADAL" clId="{775E38DF-7547-4EB7-819D-F21CF3EEFCB6}" dt="2025-10-08T01:41:00.806" v="78239"/>
          <ac:spMkLst>
            <pc:docMk/>
            <pc:sldMk cId="3828354993" sldId="333"/>
            <ac:spMk id="116" creationId="{CFAF1494-CBF2-3989-7768-99DFCFDD5091}"/>
          </ac:spMkLst>
        </pc:spChg>
        <pc:spChg chg="add del mod modVis">
          <ac:chgData name="Warren Heaps" userId="b5f776f4-d2aa-4752-837a-86796e4c6c94" providerId="ADAL" clId="{775E38DF-7547-4EB7-819D-F21CF3EEFCB6}" dt="2025-10-08T01:41:02.966" v="78277"/>
          <ac:spMkLst>
            <pc:docMk/>
            <pc:sldMk cId="3828354993" sldId="333"/>
            <ac:spMk id="117" creationId="{489BD70B-4AF7-B965-B0B4-0F857C3D5FC8}"/>
          </ac:spMkLst>
        </pc:spChg>
        <pc:spChg chg="add del mod modVis">
          <ac:chgData name="Warren Heaps" userId="b5f776f4-d2aa-4752-837a-86796e4c6c94" providerId="ADAL" clId="{775E38DF-7547-4EB7-819D-F21CF3EEFCB6}" dt="2025-10-08T01:41:36.304" v="78310"/>
          <ac:spMkLst>
            <pc:docMk/>
            <pc:sldMk cId="3828354993" sldId="333"/>
            <ac:spMk id="118" creationId="{615E59C1-D63B-B7E5-A3DF-3804247FF92F}"/>
          </ac:spMkLst>
        </pc:spChg>
        <pc:spChg chg="add del mod modVis">
          <ac:chgData name="Warren Heaps" userId="b5f776f4-d2aa-4752-837a-86796e4c6c94" providerId="ADAL" clId="{775E38DF-7547-4EB7-819D-F21CF3EEFCB6}" dt="2025-10-08T01:41:39.255" v="78343"/>
          <ac:spMkLst>
            <pc:docMk/>
            <pc:sldMk cId="3828354993" sldId="333"/>
            <ac:spMk id="119" creationId="{A12AB3B9-2A6D-9858-72CF-BFC0BE6BFADB}"/>
          </ac:spMkLst>
        </pc:spChg>
        <pc:spChg chg="add del mod modVis">
          <ac:chgData name="Warren Heaps" userId="b5f776f4-d2aa-4752-837a-86796e4c6c94" providerId="ADAL" clId="{775E38DF-7547-4EB7-819D-F21CF3EEFCB6}" dt="2025-10-08T01:41:40.856" v="78377"/>
          <ac:spMkLst>
            <pc:docMk/>
            <pc:sldMk cId="3828354993" sldId="333"/>
            <ac:spMk id="120" creationId="{999C4968-0A36-24D0-A25A-4BC879F4C96A}"/>
          </ac:spMkLst>
        </pc:spChg>
        <pc:spChg chg="add del mod modVis">
          <ac:chgData name="Warren Heaps" userId="b5f776f4-d2aa-4752-837a-86796e4c6c94" providerId="ADAL" clId="{775E38DF-7547-4EB7-819D-F21CF3EEFCB6}" dt="2025-10-08T01:41:42.509" v="78410"/>
          <ac:spMkLst>
            <pc:docMk/>
            <pc:sldMk cId="3828354993" sldId="333"/>
            <ac:spMk id="121" creationId="{BD1D4765-0991-5A9E-CD09-7FD014C3A58E}"/>
          </ac:spMkLst>
        </pc:spChg>
        <pc:spChg chg="add del mod modVis">
          <ac:chgData name="Warren Heaps" userId="b5f776f4-d2aa-4752-837a-86796e4c6c94" providerId="ADAL" clId="{775E38DF-7547-4EB7-819D-F21CF3EEFCB6}" dt="2025-10-08T01:41:44.004" v="78446"/>
          <ac:spMkLst>
            <pc:docMk/>
            <pc:sldMk cId="3828354993" sldId="333"/>
            <ac:spMk id="122" creationId="{478BDB68-5154-4C61-17ED-CA7A31DF045C}"/>
          </ac:spMkLst>
        </pc:spChg>
        <pc:spChg chg="add del mod modVis">
          <ac:chgData name="Warren Heaps" userId="b5f776f4-d2aa-4752-837a-86796e4c6c94" providerId="ADAL" clId="{775E38DF-7547-4EB7-819D-F21CF3EEFCB6}" dt="2025-10-08T01:41:44.886" v="78479"/>
          <ac:spMkLst>
            <pc:docMk/>
            <pc:sldMk cId="3828354993" sldId="333"/>
            <ac:spMk id="123" creationId="{B2C75AF3-470A-7617-84D4-E59D20ACC405}"/>
          </ac:spMkLst>
        </pc:spChg>
        <pc:spChg chg="add del mod modVis">
          <ac:chgData name="Warren Heaps" userId="b5f776f4-d2aa-4752-837a-86796e4c6c94" providerId="ADAL" clId="{775E38DF-7547-4EB7-819D-F21CF3EEFCB6}" dt="2025-10-08T01:41:49.268" v="78521"/>
          <ac:spMkLst>
            <pc:docMk/>
            <pc:sldMk cId="3828354993" sldId="333"/>
            <ac:spMk id="124" creationId="{E9CCF5E6-3550-9550-3C32-8E72A4AD21A3}"/>
          </ac:spMkLst>
        </pc:spChg>
        <pc:spChg chg="add del mod modVis">
          <ac:chgData name="Warren Heaps" userId="b5f776f4-d2aa-4752-837a-86796e4c6c94" providerId="ADAL" clId="{775E38DF-7547-4EB7-819D-F21CF3EEFCB6}" dt="2025-10-08T01:41:54.867" v="78554"/>
          <ac:spMkLst>
            <pc:docMk/>
            <pc:sldMk cId="3828354993" sldId="333"/>
            <ac:spMk id="125" creationId="{2566E1DC-E08A-8047-0038-BB8356B17356}"/>
          </ac:spMkLst>
        </pc:spChg>
        <pc:spChg chg="add del mod modVis">
          <ac:chgData name="Warren Heaps" userId="b5f776f4-d2aa-4752-837a-86796e4c6c94" providerId="ADAL" clId="{775E38DF-7547-4EB7-819D-F21CF3EEFCB6}" dt="2025-10-08T01:41:57.940" v="78587"/>
          <ac:spMkLst>
            <pc:docMk/>
            <pc:sldMk cId="3828354993" sldId="333"/>
            <ac:spMk id="126" creationId="{6165B3FA-2B18-6B8F-BAAF-24616B4F00CC}"/>
          </ac:spMkLst>
        </pc:spChg>
        <pc:spChg chg="add mod">
          <ac:chgData name="Warren Heaps" userId="b5f776f4-d2aa-4752-837a-86796e4c6c94" providerId="ADAL" clId="{775E38DF-7547-4EB7-819D-F21CF3EEFCB6}" dt="2025-10-08T01:49:15.520" v="80692"/>
          <ac:spMkLst>
            <pc:docMk/>
            <pc:sldMk cId="3828354993" sldId="333"/>
            <ac:spMk id="127" creationId="{297E3D72-FC50-EFE6-A92D-08D516689557}"/>
          </ac:spMkLst>
        </pc:spChg>
        <pc:spChg chg="add del mod modVis">
          <ac:chgData name="Warren Heaps" userId="b5f776f4-d2aa-4752-837a-86796e4c6c94" providerId="ADAL" clId="{775E38DF-7547-4EB7-819D-F21CF3EEFCB6}" dt="2025-10-08T01:43:16.237" v="78659"/>
          <ac:spMkLst>
            <pc:docMk/>
            <pc:sldMk cId="3828354993" sldId="333"/>
            <ac:spMk id="128" creationId="{C3F0BD0D-8A18-2B4F-8CD3-3F01C6D569E1}"/>
          </ac:spMkLst>
        </pc:spChg>
        <pc:spChg chg="add del mod modVis">
          <ac:chgData name="Warren Heaps" userId="b5f776f4-d2aa-4752-837a-86796e4c6c94" providerId="ADAL" clId="{775E38DF-7547-4EB7-819D-F21CF3EEFCB6}" dt="2025-10-08T01:43:24.060" v="78706"/>
          <ac:spMkLst>
            <pc:docMk/>
            <pc:sldMk cId="3828354993" sldId="333"/>
            <ac:spMk id="130" creationId="{D122AFF7-6767-C669-75B2-1B0672914D9B}"/>
          </ac:spMkLst>
        </pc:spChg>
        <pc:spChg chg="add del mod modVis">
          <ac:chgData name="Warren Heaps" userId="b5f776f4-d2aa-4752-837a-86796e4c6c94" providerId="ADAL" clId="{775E38DF-7547-4EB7-819D-F21CF3EEFCB6}" dt="2025-10-08T01:43:30.870" v="78753"/>
          <ac:spMkLst>
            <pc:docMk/>
            <pc:sldMk cId="3828354993" sldId="333"/>
            <ac:spMk id="132" creationId="{F96BFFA2-FA18-57C0-A98B-3CF74D0AD8FA}"/>
          </ac:spMkLst>
        </pc:spChg>
        <pc:spChg chg="add del mod modVis">
          <ac:chgData name="Warren Heaps" userId="b5f776f4-d2aa-4752-837a-86796e4c6c94" providerId="ADAL" clId="{775E38DF-7547-4EB7-819D-F21CF3EEFCB6}" dt="2025-10-08T01:43:47.823" v="78821"/>
          <ac:spMkLst>
            <pc:docMk/>
            <pc:sldMk cId="3828354993" sldId="333"/>
            <ac:spMk id="134" creationId="{CDEA2AB6-7721-8CFA-0330-2C4F9721E88E}"/>
          </ac:spMkLst>
        </pc:spChg>
        <pc:spChg chg="add mod">
          <ac:chgData name="Warren Heaps" userId="b5f776f4-d2aa-4752-837a-86796e4c6c94" providerId="ADAL" clId="{775E38DF-7547-4EB7-819D-F21CF3EEFCB6}" dt="2025-10-08T01:52:19.109" v="81712"/>
          <ac:spMkLst>
            <pc:docMk/>
            <pc:sldMk cId="3828354993" sldId="333"/>
            <ac:spMk id="137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01:44:36.384" v="78952"/>
          <ac:spMkLst>
            <pc:docMk/>
            <pc:sldMk cId="3828354993" sldId="333"/>
            <ac:spMk id="138" creationId="{F53A979C-3907-1A6D-7B32-F5C7F4AFC565}"/>
          </ac:spMkLst>
        </pc:spChg>
        <pc:spChg chg="add del mod modVis">
          <ac:chgData name="Warren Heaps" userId="b5f776f4-d2aa-4752-837a-86796e4c6c94" providerId="ADAL" clId="{775E38DF-7547-4EB7-819D-F21CF3EEFCB6}" dt="2025-10-08T01:44:44.353" v="78986"/>
          <ac:spMkLst>
            <pc:docMk/>
            <pc:sldMk cId="3828354993" sldId="333"/>
            <ac:spMk id="139" creationId="{D82DE0D2-B904-C25F-2446-2A75FDD473D5}"/>
          </ac:spMkLst>
        </pc:spChg>
        <pc:spChg chg="add del mod modVis">
          <ac:chgData name="Warren Heaps" userId="b5f776f4-d2aa-4752-837a-86796e4c6c94" providerId="ADAL" clId="{775E38DF-7547-4EB7-819D-F21CF3EEFCB6}" dt="2025-10-08T01:45:27.916" v="79076"/>
          <ac:spMkLst>
            <pc:docMk/>
            <pc:sldMk cId="3828354993" sldId="333"/>
            <ac:spMk id="140" creationId="{8B4FBF93-5A71-26B5-441B-28EF4A6E2B40}"/>
          </ac:spMkLst>
        </pc:spChg>
        <pc:spChg chg="add del mod modVis">
          <ac:chgData name="Warren Heaps" userId="b5f776f4-d2aa-4752-837a-86796e4c6c94" providerId="ADAL" clId="{775E38DF-7547-4EB7-819D-F21CF3EEFCB6}" dt="2025-10-08T01:45:31.892" v="79127"/>
          <ac:spMkLst>
            <pc:docMk/>
            <pc:sldMk cId="3828354993" sldId="333"/>
            <ac:spMk id="141" creationId="{DA681AE3-49AA-B1A7-A519-6C12467F9F94}"/>
          </ac:spMkLst>
        </pc:spChg>
        <pc:spChg chg="add del mod modVis">
          <ac:chgData name="Warren Heaps" userId="b5f776f4-d2aa-4752-837a-86796e4c6c94" providerId="ADAL" clId="{775E38DF-7547-4EB7-819D-F21CF3EEFCB6}" dt="2025-10-08T01:45:33.345" v="79160"/>
          <ac:spMkLst>
            <pc:docMk/>
            <pc:sldMk cId="3828354993" sldId="333"/>
            <ac:spMk id="142" creationId="{924FFC6E-7B2D-21E2-8A75-5A36D19823FF}"/>
          </ac:spMkLst>
        </pc:spChg>
        <pc:spChg chg="add del mod modVis">
          <ac:chgData name="Warren Heaps" userId="b5f776f4-d2aa-4752-837a-86796e4c6c94" providerId="ADAL" clId="{775E38DF-7547-4EB7-819D-F21CF3EEFCB6}" dt="2025-10-08T01:45:36.271" v="79200"/>
          <ac:spMkLst>
            <pc:docMk/>
            <pc:sldMk cId="3828354993" sldId="333"/>
            <ac:spMk id="143" creationId="{87903195-599E-E7AB-1CAE-8F8FBB476A51}"/>
          </ac:spMkLst>
        </pc:spChg>
        <pc:spChg chg="add del mod modVis">
          <ac:chgData name="Warren Heaps" userId="b5f776f4-d2aa-4752-837a-86796e4c6c94" providerId="ADAL" clId="{775E38DF-7547-4EB7-819D-F21CF3EEFCB6}" dt="2025-10-08T01:45:37.562" v="79228"/>
          <ac:spMkLst>
            <pc:docMk/>
            <pc:sldMk cId="3828354993" sldId="333"/>
            <ac:spMk id="144" creationId="{F12A195E-71E9-4901-6EA1-A79F4BEC5C78}"/>
          </ac:spMkLst>
        </pc:spChg>
        <pc:spChg chg="add del mod modVis">
          <ac:chgData name="Warren Heaps" userId="b5f776f4-d2aa-4752-837a-86796e4c6c94" providerId="ADAL" clId="{775E38DF-7547-4EB7-819D-F21CF3EEFCB6}" dt="2025-10-08T01:45:43.232" v="79271"/>
          <ac:spMkLst>
            <pc:docMk/>
            <pc:sldMk cId="3828354993" sldId="333"/>
            <ac:spMk id="145" creationId="{9D535750-8C1E-3CBC-BE30-1E12E36E5D47}"/>
          </ac:spMkLst>
        </pc:spChg>
        <pc:spChg chg="add del mod modVis">
          <ac:chgData name="Warren Heaps" userId="b5f776f4-d2aa-4752-837a-86796e4c6c94" providerId="ADAL" clId="{775E38DF-7547-4EB7-819D-F21CF3EEFCB6}" dt="2025-10-08T01:45:43.948" v="79297"/>
          <ac:spMkLst>
            <pc:docMk/>
            <pc:sldMk cId="3828354993" sldId="333"/>
            <ac:spMk id="146" creationId="{20B35F98-E2A7-4E80-FECF-6886BD636F0C}"/>
          </ac:spMkLst>
        </pc:spChg>
        <pc:spChg chg="add del mod modVis">
          <ac:chgData name="Warren Heaps" userId="b5f776f4-d2aa-4752-837a-86796e4c6c94" providerId="ADAL" clId="{775E38DF-7547-4EB7-819D-F21CF3EEFCB6}" dt="2025-10-08T01:45:45.415" v="79324"/>
          <ac:spMkLst>
            <pc:docMk/>
            <pc:sldMk cId="3828354993" sldId="333"/>
            <ac:spMk id="147" creationId="{75E8609A-4FF3-9BE8-22A2-466ABD4D7440}"/>
          </ac:spMkLst>
        </pc:spChg>
        <pc:spChg chg="add del mod modVis">
          <ac:chgData name="Warren Heaps" userId="b5f776f4-d2aa-4752-837a-86796e4c6c94" providerId="ADAL" clId="{775E38DF-7547-4EB7-819D-F21CF3EEFCB6}" dt="2025-10-08T01:45:46.670" v="79352"/>
          <ac:spMkLst>
            <pc:docMk/>
            <pc:sldMk cId="3828354993" sldId="333"/>
            <ac:spMk id="148" creationId="{08E20CFD-7691-5E7C-AC17-AF91E1575CCD}"/>
          </ac:spMkLst>
        </pc:spChg>
        <pc:spChg chg="add del mod modVis">
          <ac:chgData name="Warren Heaps" userId="b5f776f4-d2aa-4752-837a-86796e4c6c94" providerId="ADAL" clId="{775E38DF-7547-4EB7-819D-F21CF3EEFCB6}" dt="2025-10-08T01:45:47.969" v="79377"/>
          <ac:spMkLst>
            <pc:docMk/>
            <pc:sldMk cId="3828354993" sldId="333"/>
            <ac:spMk id="149" creationId="{43B121DE-791B-F5CC-D443-2B3AD957E2B9}"/>
          </ac:spMkLst>
        </pc:spChg>
        <pc:spChg chg="add del mod modVis">
          <ac:chgData name="Warren Heaps" userId="b5f776f4-d2aa-4752-837a-86796e4c6c94" providerId="ADAL" clId="{775E38DF-7547-4EB7-819D-F21CF3EEFCB6}" dt="2025-10-08T01:45:48.684" v="79402"/>
          <ac:spMkLst>
            <pc:docMk/>
            <pc:sldMk cId="3828354993" sldId="333"/>
            <ac:spMk id="150" creationId="{9A8AEE1F-A5F9-3845-A296-FE3C0191A6DF}"/>
          </ac:spMkLst>
        </pc:spChg>
        <pc:spChg chg="add del mod modVis">
          <ac:chgData name="Warren Heaps" userId="b5f776f4-d2aa-4752-837a-86796e4c6c94" providerId="ADAL" clId="{775E38DF-7547-4EB7-819D-F21CF3EEFCB6}" dt="2025-10-08T01:45:50.495" v="79427"/>
          <ac:spMkLst>
            <pc:docMk/>
            <pc:sldMk cId="3828354993" sldId="333"/>
            <ac:spMk id="151" creationId="{B94C8E77-FE4A-5F99-A40B-BAC0C6219148}"/>
          </ac:spMkLst>
        </pc:spChg>
        <pc:spChg chg="add del mod modVis">
          <ac:chgData name="Warren Heaps" userId="b5f776f4-d2aa-4752-837a-86796e4c6c94" providerId="ADAL" clId="{775E38DF-7547-4EB7-819D-F21CF3EEFCB6}" dt="2025-10-08T01:45:54.408" v="79467"/>
          <ac:spMkLst>
            <pc:docMk/>
            <pc:sldMk cId="3828354993" sldId="333"/>
            <ac:spMk id="152" creationId="{A6E8BA02-5CE1-4330-99F7-E04C95F1D424}"/>
          </ac:spMkLst>
        </pc:spChg>
        <pc:spChg chg="add del mod modVis">
          <ac:chgData name="Warren Heaps" userId="b5f776f4-d2aa-4752-837a-86796e4c6c94" providerId="ADAL" clId="{775E38DF-7547-4EB7-819D-F21CF3EEFCB6}" dt="2025-10-08T01:45:58.279" v="79503"/>
          <ac:spMkLst>
            <pc:docMk/>
            <pc:sldMk cId="3828354993" sldId="333"/>
            <ac:spMk id="153" creationId="{0E9D8EA2-C0ED-89BE-DF08-3103BE0B3C0C}"/>
          </ac:spMkLst>
        </pc:spChg>
        <pc:spChg chg="add del mod modVis">
          <ac:chgData name="Warren Heaps" userId="b5f776f4-d2aa-4752-837a-86796e4c6c94" providerId="ADAL" clId="{775E38DF-7547-4EB7-819D-F21CF3EEFCB6}" dt="2025-10-08T01:46:02.758" v="79534"/>
          <ac:spMkLst>
            <pc:docMk/>
            <pc:sldMk cId="3828354993" sldId="333"/>
            <ac:spMk id="154" creationId="{9609F17A-AF0D-D8F5-55FA-1AF6D612FC00}"/>
          </ac:spMkLst>
        </pc:spChg>
        <pc:spChg chg="add del mod modVis">
          <ac:chgData name="Warren Heaps" userId="b5f776f4-d2aa-4752-837a-86796e4c6c94" providerId="ADAL" clId="{775E38DF-7547-4EB7-819D-F21CF3EEFCB6}" dt="2025-10-08T01:46:04.453" v="79566"/>
          <ac:spMkLst>
            <pc:docMk/>
            <pc:sldMk cId="3828354993" sldId="333"/>
            <ac:spMk id="155" creationId="{CCF459AC-303F-D64A-F731-A1BDEF58EC81}"/>
          </ac:spMkLst>
        </pc:spChg>
        <pc:spChg chg="add del mod modVis">
          <ac:chgData name="Warren Heaps" userId="b5f776f4-d2aa-4752-837a-86796e4c6c94" providerId="ADAL" clId="{775E38DF-7547-4EB7-819D-F21CF3EEFCB6}" dt="2025-10-08T01:46:09.050" v="79596"/>
          <ac:spMkLst>
            <pc:docMk/>
            <pc:sldMk cId="3828354993" sldId="333"/>
            <ac:spMk id="156" creationId="{8EECC2F9-1879-40E1-83CF-32323DDC9EEC}"/>
          </ac:spMkLst>
        </pc:spChg>
        <pc:spChg chg="add del mod modVis">
          <ac:chgData name="Warren Heaps" userId="b5f776f4-d2aa-4752-837a-86796e4c6c94" providerId="ADAL" clId="{775E38DF-7547-4EB7-819D-F21CF3EEFCB6}" dt="2025-10-08T01:46:15.987" v="79638"/>
          <ac:spMkLst>
            <pc:docMk/>
            <pc:sldMk cId="3828354993" sldId="333"/>
            <ac:spMk id="157" creationId="{5160A5D2-7017-422C-F330-0C0760BC97EA}"/>
          </ac:spMkLst>
        </pc:spChg>
        <pc:spChg chg="add del mod modVis">
          <ac:chgData name="Warren Heaps" userId="b5f776f4-d2aa-4752-837a-86796e4c6c94" providerId="ADAL" clId="{775E38DF-7547-4EB7-819D-F21CF3EEFCB6}" dt="2025-10-08T01:46:16.768" v="79663"/>
          <ac:spMkLst>
            <pc:docMk/>
            <pc:sldMk cId="3828354993" sldId="333"/>
            <ac:spMk id="158" creationId="{0B4F8055-F93F-82C3-82F8-26FD34246EB7}"/>
          </ac:spMkLst>
        </pc:spChg>
        <pc:spChg chg="add del mod modVis">
          <ac:chgData name="Warren Heaps" userId="b5f776f4-d2aa-4752-837a-86796e4c6c94" providerId="ADAL" clId="{775E38DF-7547-4EB7-819D-F21CF3EEFCB6}" dt="2025-10-08T01:46:17.564" v="79688"/>
          <ac:spMkLst>
            <pc:docMk/>
            <pc:sldMk cId="3828354993" sldId="333"/>
            <ac:spMk id="159" creationId="{AF2AC8BA-0B96-AF37-1181-77A033A92EDF}"/>
          </ac:spMkLst>
        </pc:spChg>
        <pc:spChg chg="add del mod modVis">
          <ac:chgData name="Warren Heaps" userId="b5f776f4-d2aa-4752-837a-86796e4c6c94" providerId="ADAL" clId="{775E38DF-7547-4EB7-819D-F21CF3EEFCB6}" dt="2025-10-08T01:46:20.781" v="79714"/>
          <ac:spMkLst>
            <pc:docMk/>
            <pc:sldMk cId="3828354993" sldId="333"/>
            <ac:spMk id="160" creationId="{DC74FAF4-CD29-85FA-5C4B-C4422D575DCC}"/>
          </ac:spMkLst>
        </pc:spChg>
        <pc:spChg chg="add del mod modVis">
          <ac:chgData name="Warren Heaps" userId="b5f776f4-d2aa-4752-837a-86796e4c6c94" providerId="ADAL" clId="{775E38DF-7547-4EB7-819D-F21CF3EEFCB6}" dt="2025-10-08T01:46:22.282" v="79745"/>
          <ac:spMkLst>
            <pc:docMk/>
            <pc:sldMk cId="3828354993" sldId="333"/>
            <ac:spMk id="161" creationId="{53F50C50-69C6-9594-7B05-99293BE47D1C}"/>
          </ac:spMkLst>
        </pc:spChg>
        <pc:spChg chg="add del mod modVis">
          <ac:chgData name="Warren Heaps" userId="b5f776f4-d2aa-4752-837a-86796e4c6c94" providerId="ADAL" clId="{775E38DF-7547-4EB7-819D-F21CF3EEFCB6}" dt="2025-10-08T01:46:32.798" v="79777"/>
          <ac:spMkLst>
            <pc:docMk/>
            <pc:sldMk cId="3828354993" sldId="333"/>
            <ac:spMk id="162" creationId="{A5C82417-9CAB-C714-4329-63AD6A64FB39}"/>
          </ac:spMkLst>
        </pc:spChg>
        <pc:spChg chg="add del mod modVis">
          <ac:chgData name="Warren Heaps" userId="b5f776f4-d2aa-4752-837a-86796e4c6c94" providerId="ADAL" clId="{775E38DF-7547-4EB7-819D-F21CF3EEFCB6}" dt="2025-10-08T01:46:36.901" v="79817"/>
          <ac:spMkLst>
            <pc:docMk/>
            <pc:sldMk cId="3828354993" sldId="333"/>
            <ac:spMk id="163" creationId="{24A2A220-CAE1-33B2-386D-D322EF420D64}"/>
          </ac:spMkLst>
        </pc:spChg>
        <pc:spChg chg="add del mod modVis">
          <ac:chgData name="Warren Heaps" userId="b5f776f4-d2aa-4752-837a-86796e4c6c94" providerId="ADAL" clId="{775E38DF-7547-4EB7-819D-F21CF3EEFCB6}" dt="2025-10-08T01:46:38.273" v="79847"/>
          <ac:spMkLst>
            <pc:docMk/>
            <pc:sldMk cId="3828354993" sldId="333"/>
            <ac:spMk id="164" creationId="{BC139ABA-01E5-21F6-F58B-9E12086743A3}"/>
          </ac:spMkLst>
        </pc:spChg>
        <pc:spChg chg="add del mod modVis">
          <ac:chgData name="Warren Heaps" userId="b5f776f4-d2aa-4752-837a-86796e4c6c94" providerId="ADAL" clId="{775E38DF-7547-4EB7-819D-F21CF3EEFCB6}" dt="2025-10-08T01:46:48.769" v="79878"/>
          <ac:spMkLst>
            <pc:docMk/>
            <pc:sldMk cId="3828354993" sldId="333"/>
            <ac:spMk id="165" creationId="{43FB5411-6509-4B98-37FF-B7E05963F287}"/>
          </ac:spMkLst>
        </pc:spChg>
        <pc:spChg chg="add del mod modVis">
          <ac:chgData name="Warren Heaps" userId="b5f776f4-d2aa-4752-837a-86796e4c6c94" providerId="ADAL" clId="{775E38DF-7547-4EB7-819D-F21CF3EEFCB6}" dt="2025-10-08T01:46:49.436" v="79903"/>
          <ac:spMkLst>
            <pc:docMk/>
            <pc:sldMk cId="3828354993" sldId="333"/>
            <ac:spMk id="166" creationId="{AF53BAA3-E0EC-D757-804C-D28500D860A1}"/>
          </ac:spMkLst>
        </pc:spChg>
        <pc:spChg chg="add del mod modVis">
          <ac:chgData name="Warren Heaps" userId="b5f776f4-d2aa-4752-837a-86796e4c6c94" providerId="ADAL" clId="{775E38DF-7547-4EB7-819D-F21CF3EEFCB6}" dt="2025-10-08T01:47:02.647" v="79943"/>
          <ac:spMkLst>
            <pc:docMk/>
            <pc:sldMk cId="3828354993" sldId="333"/>
            <ac:spMk id="167" creationId="{01DC4E47-B5DF-403C-B4BF-A907EB91E8C7}"/>
          </ac:spMkLst>
        </pc:spChg>
        <pc:spChg chg="add del mod modVis">
          <ac:chgData name="Warren Heaps" userId="b5f776f4-d2aa-4752-837a-86796e4c6c94" providerId="ADAL" clId="{775E38DF-7547-4EB7-819D-F21CF3EEFCB6}" dt="2025-10-08T01:47:10.588" v="79983"/>
          <ac:spMkLst>
            <pc:docMk/>
            <pc:sldMk cId="3828354993" sldId="333"/>
            <ac:spMk id="168" creationId="{6A0C1180-FB20-1662-3665-73E66FBB3211}"/>
          </ac:spMkLst>
        </pc:spChg>
        <pc:spChg chg="add del mod modVis">
          <ac:chgData name="Warren Heaps" userId="b5f776f4-d2aa-4752-837a-86796e4c6c94" providerId="ADAL" clId="{775E38DF-7547-4EB7-819D-F21CF3EEFCB6}" dt="2025-10-08T01:47:17.126" v="80023"/>
          <ac:spMkLst>
            <pc:docMk/>
            <pc:sldMk cId="3828354993" sldId="333"/>
            <ac:spMk id="169" creationId="{70728159-B5A1-2532-4CAE-7BBA9E2DA1E2}"/>
          </ac:spMkLst>
        </pc:spChg>
        <pc:spChg chg="add del mod modVis">
          <ac:chgData name="Warren Heaps" userId="b5f776f4-d2aa-4752-837a-86796e4c6c94" providerId="ADAL" clId="{775E38DF-7547-4EB7-819D-F21CF3EEFCB6}" dt="2025-10-08T01:47:21.912" v="80049"/>
          <ac:spMkLst>
            <pc:docMk/>
            <pc:sldMk cId="3828354993" sldId="333"/>
            <ac:spMk id="170" creationId="{6AC4375E-51D9-B1BC-D948-245B5E04A5F2}"/>
          </ac:spMkLst>
        </pc:spChg>
        <pc:spChg chg="add del mod modVis">
          <ac:chgData name="Warren Heaps" userId="b5f776f4-d2aa-4752-837a-86796e4c6c94" providerId="ADAL" clId="{775E38DF-7547-4EB7-819D-F21CF3EEFCB6}" dt="2025-10-08T01:47:31.001" v="80074"/>
          <ac:spMkLst>
            <pc:docMk/>
            <pc:sldMk cId="3828354993" sldId="333"/>
            <ac:spMk id="171" creationId="{899983A9-B828-74E2-BAC9-0210B5BECDF3}"/>
          </ac:spMkLst>
        </pc:spChg>
        <pc:spChg chg="add del mod modVis">
          <ac:chgData name="Warren Heaps" userId="b5f776f4-d2aa-4752-837a-86796e4c6c94" providerId="ADAL" clId="{775E38DF-7547-4EB7-819D-F21CF3EEFCB6}" dt="2025-10-08T01:47:32.547" v="80102"/>
          <ac:spMkLst>
            <pc:docMk/>
            <pc:sldMk cId="3828354993" sldId="333"/>
            <ac:spMk id="172" creationId="{3471B51F-5384-F842-011E-B3FB01F093F1}"/>
          </ac:spMkLst>
        </pc:spChg>
        <pc:spChg chg="add del mod modVis">
          <ac:chgData name="Warren Heaps" userId="b5f776f4-d2aa-4752-837a-86796e4c6c94" providerId="ADAL" clId="{775E38DF-7547-4EB7-819D-F21CF3EEFCB6}" dt="2025-10-08T01:47:34.087" v="80130"/>
          <ac:spMkLst>
            <pc:docMk/>
            <pc:sldMk cId="3828354993" sldId="333"/>
            <ac:spMk id="173" creationId="{16A3CA08-7D82-6A70-F218-DC62B28D4255}"/>
          </ac:spMkLst>
        </pc:spChg>
        <pc:spChg chg="add del mod modVis">
          <ac:chgData name="Warren Heaps" userId="b5f776f4-d2aa-4752-837a-86796e4c6c94" providerId="ADAL" clId="{775E38DF-7547-4EB7-819D-F21CF3EEFCB6}" dt="2025-10-08T01:47:35.220" v="80157"/>
          <ac:spMkLst>
            <pc:docMk/>
            <pc:sldMk cId="3828354993" sldId="333"/>
            <ac:spMk id="174" creationId="{9B79170A-4D12-8141-5326-AC34E1382B81}"/>
          </ac:spMkLst>
        </pc:spChg>
        <pc:spChg chg="add del mod modVis">
          <ac:chgData name="Warren Heaps" userId="b5f776f4-d2aa-4752-837a-86796e4c6c94" providerId="ADAL" clId="{775E38DF-7547-4EB7-819D-F21CF3EEFCB6}" dt="2025-10-08T01:47:38.195" v="80189"/>
          <ac:spMkLst>
            <pc:docMk/>
            <pc:sldMk cId="3828354993" sldId="333"/>
            <ac:spMk id="175" creationId="{51D39DA3-243E-B903-52D1-AE65A6692098}"/>
          </ac:spMkLst>
        </pc:spChg>
        <pc:spChg chg="add del mod modVis">
          <ac:chgData name="Warren Heaps" userId="b5f776f4-d2aa-4752-837a-86796e4c6c94" providerId="ADAL" clId="{775E38DF-7547-4EB7-819D-F21CF3EEFCB6}" dt="2025-10-08T01:47:43.335" v="80229"/>
          <ac:spMkLst>
            <pc:docMk/>
            <pc:sldMk cId="3828354993" sldId="333"/>
            <ac:spMk id="176" creationId="{9BC19F53-8F5F-B86B-8AB2-A0232D1D9E27}"/>
          </ac:spMkLst>
        </pc:spChg>
        <pc:spChg chg="add del mod modVis">
          <ac:chgData name="Warren Heaps" userId="b5f776f4-d2aa-4752-837a-86796e4c6c94" providerId="ADAL" clId="{775E38DF-7547-4EB7-819D-F21CF3EEFCB6}" dt="2025-10-08T01:47:47.064" v="80263"/>
          <ac:spMkLst>
            <pc:docMk/>
            <pc:sldMk cId="3828354993" sldId="333"/>
            <ac:spMk id="177" creationId="{1D85955E-4643-BFE2-4C6E-7481151E9557}"/>
          </ac:spMkLst>
        </pc:spChg>
        <pc:spChg chg="add del mod modVis">
          <ac:chgData name="Warren Heaps" userId="b5f776f4-d2aa-4752-837a-86796e4c6c94" providerId="ADAL" clId="{775E38DF-7547-4EB7-819D-F21CF3EEFCB6}" dt="2025-10-08T01:47:52.432" v="80295"/>
          <ac:spMkLst>
            <pc:docMk/>
            <pc:sldMk cId="3828354993" sldId="333"/>
            <ac:spMk id="178" creationId="{76F38B25-A81E-EADD-409D-818519224B23}"/>
          </ac:spMkLst>
        </pc:spChg>
        <pc:spChg chg="add del mod modVis">
          <ac:chgData name="Warren Heaps" userId="b5f776f4-d2aa-4752-837a-86796e4c6c94" providerId="ADAL" clId="{775E38DF-7547-4EB7-819D-F21CF3EEFCB6}" dt="2025-10-08T01:47:58.600" v="80333"/>
          <ac:spMkLst>
            <pc:docMk/>
            <pc:sldMk cId="3828354993" sldId="333"/>
            <ac:spMk id="179" creationId="{58F4FCC2-8C8A-7111-DF4A-E7498DE9BA09}"/>
          </ac:spMkLst>
        </pc:spChg>
        <pc:spChg chg="add del mod modVis">
          <ac:chgData name="Warren Heaps" userId="b5f776f4-d2aa-4752-837a-86796e4c6c94" providerId="ADAL" clId="{775E38DF-7547-4EB7-819D-F21CF3EEFCB6}" dt="2025-10-08T01:48:02.201" v="80359"/>
          <ac:spMkLst>
            <pc:docMk/>
            <pc:sldMk cId="3828354993" sldId="333"/>
            <ac:spMk id="180" creationId="{0B92A97D-0146-D390-33AA-9D72712A30E1}"/>
          </ac:spMkLst>
        </pc:spChg>
        <pc:spChg chg="add del mod modVis">
          <ac:chgData name="Warren Heaps" userId="b5f776f4-d2aa-4752-837a-86796e4c6c94" providerId="ADAL" clId="{775E38DF-7547-4EB7-819D-F21CF3EEFCB6}" dt="2025-10-08T01:48:05.862" v="80390"/>
          <ac:spMkLst>
            <pc:docMk/>
            <pc:sldMk cId="3828354993" sldId="333"/>
            <ac:spMk id="181" creationId="{CF285C32-3568-0981-12DC-C7EF313CD6B5}"/>
          </ac:spMkLst>
        </pc:spChg>
        <pc:spChg chg="add del mod modVis">
          <ac:chgData name="Warren Heaps" userId="b5f776f4-d2aa-4752-837a-86796e4c6c94" providerId="ADAL" clId="{775E38DF-7547-4EB7-819D-F21CF3EEFCB6}" dt="2025-10-08T01:48:08.298" v="80427"/>
          <ac:spMkLst>
            <pc:docMk/>
            <pc:sldMk cId="3828354993" sldId="333"/>
            <ac:spMk id="182" creationId="{E807E8A1-5027-F5C3-B1E0-C9F2EEBC6222}"/>
          </ac:spMkLst>
        </pc:spChg>
        <pc:spChg chg="add del mod modVis">
          <ac:chgData name="Warren Heaps" userId="b5f776f4-d2aa-4752-837a-86796e4c6c94" providerId="ADAL" clId="{775E38DF-7547-4EB7-819D-F21CF3EEFCB6}" dt="2025-10-08T01:48:09.124" v="80452"/>
          <ac:spMkLst>
            <pc:docMk/>
            <pc:sldMk cId="3828354993" sldId="333"/>
            <ac:spMk id="183" creationId="{A057F539-C161-ED05-25D6-9A44537B527A}"/>
          </ac:spMkLst>
        </pc:spChg>
        <pc:spChg chg="add del mod modVis">
          <ac:chgData name="Warren Heaps" userId="b5f776f4-d2aa-4752-837a-86796e4c6c94" providerId="ADAL" clId="{775E38DF-7547-4EB7-819D-F21CF3EEFCB6}" dt="2025-10-08T01:48:12.829" v="80478"/>
          <ac:spMkLst>
            <pc:docMk/>
            <pc:sldMk cId="3828354993" sldId="333"/>
            <ac:spMk id="184" creationId="{E6E59070-7895-D48E-723F-805451A90FCB}"/>
          </ac:spMkLst>
        </pc:spChg>
        <pc:spChg chg="add del mod modVis">
          <ac:chgData name="Warren Heaps" userId="b5f776f4-d2aa-4752-837a-86796e4c6c94" providerId="ADAL" clId="{775E38DF-7547-4EB7-819D-F21CF3EEFCB6}" dt="2025-10-08T01:48:17.583" v="80529"/>
          <ac:spMkLst>
            <pc:docMk/>
            <pc:sldMk cId="3828354993" sldId="333"/>
            <ac:spMk id="185" creationId="{F5D9EEF3-E3BC-A383-8FA3-8ACE51461E42}"/>
          </ac:spMkLst>
        </pc:spChg>
        <pc:spChg chg="add del mod modVis">
          <ac:chgData name="Warren Heaps" userId="b5f776f4-d2aa-4752-837a-86796e4c6c94" providerId="ADAL" clId="{775E38DF-7547-4EB7-819D-F21CF3EEFCB6}" dt="2025-10-08T01:48:19.662" v="80562"/>
          <ac:spMkLst>
            <pc:docMk/>
            <pc:sldMk cId="3828354993" sldId="333"/>
            <ac:spMk id="186" creationId="{0AEC6E7B-A4BD-E3CF-3936-EBC8FD29F1F8}"/>
          </ac:spMkLst>
        </pc:spChg>
        <pc:spChg chg="add del mod modVis">
          <ac:chgData name="Warren Heaps" userId="b5f776f4-d2aa-4752-837a-86796e4c6c94" providerId="ADAL" clId="{775E38DF-7547-4EB7-819D-F21CF3EEFCB6}" dt="2025-10-08T01:48:57.229" v="80635"/>
          <ac:spMkLst>
            <pc:docMk/>
            <pc:sldMk cId="3828354993" sldId="333"/>
            <ac:spMk id="187" creationId="{9AA9E444-D76B-4CC8-F90C-56765B19840B}"/>
          </ac:spMkLst>
        </pc:spChg>
        <pc:spChg chg="add del mod modVis">
          <ac:chgData name="Warren Heaps" userId="b5f776f4-d2aa-4752-837a-86796e4c6c94" providerId="ADAL" clId="{775E38DF-7547-4EB7-819D-F21CF3EEFCB6}" dt="2025-10-08T01:49:15.536" v="80702"/>
          <ac:spMkLst>
            <pc:docMk/>
            <pc:sldMk cId="3828354993" sldId="333"/>
            <ac:spMk id="189" creationId="{2EA69C92-348F-0A7F-86E8-3F73DCDBFDB1}"/>
          </ac:spMkLst>
        </pc:spChg>
        <pc:spChg chg="add del mod modVis">
          <ac:chgData name="Warren Heaps" userId="b5f776f4-d2aa-4752-837a-86796e4c6c94" providerId="ADAL" clId="{775E38DF-7547-4EB7-819D-F21CF3EEFCB6}" dt="2025-10-08T01:50:02.695" v="80728"/>
          <ac:spMkLst>
            <pc:docMk/>
            <pc:sldMk cId="3828354993" sldId="333"/>
            <ac:spMk id="191" creationId="{C77CA168-D136-7B93-14D8-094E679F5899}"/>
          </ac:spMkLst>
        </pc:spChg>
        <pc:spChg chg="add del mod modVis">
          <ac:chgData name="Warren Heaps" userId="b5f776f4-d2aa-4752-837a-86796e4c6c94" providerId="ADAL" clId="{775E38DF-7547-4EB7-819D-F21CF3EEFCB6}" dt="2025-10-08T01:50:04.047" v="80755"/>
          <ac:spMkLst>
            <pc:docMk/>
            <pc:sldMk cId="3828354993" sldId="333"/>
            <ac:spMk id="192" creationId="{74172FE5-1D53-7570-3952-B21384619A13}"/>
          </ac:spMkLst>
        </pc:spChg>
        <pc:spChg chg="add del mod modVis">
          <ac:chgData name="Warren Heaps" userId="b5f776f4-d2aa-4752-837a-86796e4c6c94" providerId="ADAL" clId="{775E38DF-7547-4EB7-819D-F21CF3EEFCB6}" dt="2025-10-08T01:50:06.699" v="80781"/>
          <ac:spMkLst>
            <pc:docMk/>
            <pc:sldMk cId="3828354993" sldId="333"/>
            <ac:spMk id="193" creationId="{918BBD5E-96EC-951D-69AA-6C650990AA92}"/>
          </ac:spMkLst>
        </pc:spChg>
        <pc:spChg chg="add del mod modVis">
          <ac:chgData name="Warren Heaps" userId="b5f776f4-d2aa-4752-837a-86796e4c6c94" providerId="ADAL" clId="{775E38DF-7547-4EB7-819D-F21CF3EEFCB6}" dt="2025-10-08T01:50:08.046" v="80809"/>
          <ac:spMkLst>
            <pc:docMk/>
            <pc:sldMk cId="3828354993" sldId="333"/>
            <ac:spMk id="194" creationId="{C0D5C805-E281-4709-6D47-004E17E4E2D8}"/>
          </ac:spMkLst>
        </pc:spChg>
        <pc:spChg chg="add del mod modVis">
          <ac:chgData name="Warren Heaps" userId="b5f776f4-d2aa-4752-837a-86796e4c6c94" providerId="ADAL" clId="{775E38DF-7547-4EB7-819D-F21CF3EEFCB6}" dt="2025-10-08T01:50:09.839" v="80841"/>
          <ac:spMkLst>
            <pc:docMk/>
            <pc:sldMk cId="3828354993" sldId="333"/>
            <ac:spMk id="195" creationId="{ABC2C825-1DB1-6FA4-7CB6-1DB5F160BAA8}"/>
          </ac:spMkLst>
        </pc:spChg>
        <pc:spChg chg="add del mod modVis">
          <ac:chgData name="Warren Heaps" userId="b5f776f4-d2aa-4752-837a-86796e4c6c94" providerId="ADAL" clId="{775E38DF-7547-4EB7-819D-F21CF3EEFCB6}" dt="2025-10-08T01:50:10.973" v="80869"/>
          <ac:spMkLst>
            <pc:docMk/>
            <pc:sldMk cId="3828354993" sldId="333"/>
            <ac:spMk id="196" creationId="{16536732-054A-8603-19DC-17B35795BD48}"/>
          </ac:spMkLst>
        </pc:spChg>
        <pc:spChg chg="add del mod modVis">
          <ac:chgData name="Warren Heaps" userId="b5f776f4-d2aa-4752-837a-86796e4c6c94" providerId="ADAL" clId="{775E38DF-7547-4EB7-819D-F21CF3EEFCB6}" dt="2025-10-08T01:50:12.315" v="80900"/>
          <ac:spMkLst>
            <pc:docMk/>
            <pc:sldMk cId="3828354993" sldId="333"/>
            <ac:spMk id="197" creationId="{65B3DDC7-9ADE-BC30-9110-ECE3C6BBC9ED}"/>
          </ac:spMkLst>
        </pc:spChg>
        <pc:spChg chg="add del mod modVis">
          <ac:chgData name="Warren Heaps" userId="b5f776f4-d2aa-4752-837a-86796e4c6c94" providerId="ADAL" clId="{775E38DF-7547-4EB7-819D-F21CF3EEFCB6}" dt="2025-10-08T01:50:16.743" v="80933"/>
          <ac:spMkLst>
            <pc:docMk/>
            <pc:sldMk cId="3828354993" sldId="333"/>
            <ac:spMk id="198" creationId="{E21FDF6A-4F05-02FA-E896-B7549E8CB557}"/>
          </ac:spMkLst>
        </pc:spChg>
        <pc:spChg chg="add del mod modVis">
          <ac:chgData name="Warren Heaps" userId="b5f776f4-d2aa-4752-837a-86796e4c6c94" providerId="ADAL" clId="{775E38DF-7547-4EB7-819D-F21CF3EEFCB6}" dt="2025-10-08T01:50:22.633" v="81000"/>
          <ac:spMkLst>
            <pc:docMk/>
            <pc:sldMk cId="3828354993" sldId="333"/>
            <ac:spMk id="199" creationId="{6884DB3D-2495-E510-F67F-4E5CD0785992}"/>
          </ac:spMkLst>
        </pc:spChg>
        <pc:spChg chg="add del mod modVis">
          <ac:chgData name="Warren Heaps" userId="b5f776f4-d2aa-4752-837a-86796e4c6c94" providerId="ADAL" clId="{775E38DF-7547-4EB7-819D-F21CF3EEFCB6}" dt="2025-10-08T01:50:28.002" v="81025"/>
          <ac:spMkLst>
            <pc:docMk/>
            <pc:sldMk cId="3828354993" sldId="333"/>
            <ac:spMk id="200" creationId="{CB4C5A95-9EBA-28A3-E289-B202A713401B}"/>
          </ac:spMkLst>
        </pc:spChg>
        <pc:spChg chg="add del mod modVis">
          <ac:chgData name="Warren Heaps" userId="b5f776f4-d2aa-4752-837a-86796e4c6c94" providerId="ADAL" clId="{775E38DF-7547-4EB7-819D-F21CF3EEFCB6}" dt="2025-10-08T01:50:46.355" v="81050"/>
          <ac:spMkLst>
            <pc:docMk/>
            <pc:sldMk cId="3828354993" sldId="333"/>
            <ac:spMk id="201" creationId="{27130CBD-6824-D4B8-7B1B-B7B1EE702902}"/>
          </ac:spMkLst>
        </pc:spChg>
        <pc:spChg chg="add del mod modVis">
          <ac:chgData name="Warren Heaps" userId="b5f776f4-d2aa-4752-837a-86796e4c6c94" providerId="ADAL" clId="{775E38DF-7547-4EB7-819D-F21CF3EEFCB6}" dt="2025-10-08T01:50:50.466" v="81086"/>
          <ac:spMkLst>
            <pc:docMk/>
            <pc:sldMk cId="3828354993" sldId="333"/>
            <ac:spMk id="202" creationId="{AE0900A7-EC26-BD12-3514-CE252E5C2A9A}"/>
          </ac:spMkLst>
        </pc:spChg>
        <pc:spChg chg="add del mod modVis">
          <ac:chgData name="Warren Heaps" userId="b5f776f4-d2aa-4752-837a-86796e4c6c94" providerId="ADAL" clId="{775E38DF-7547-4EB7-819D-F21CF3EEFCB6}" dt="2025-10-08T01:50:51.233" v="81111"/>
          <ac:spMkLst>
            <pc:docMk/>
            <pc:sldMk cId="3828354993" sldId="333"/>
            <ac:spMk id="203" creationId="{067A88E8-7374-3BE7-35C2-63B77BC1EC02}"/>
          </ac:spMkLst>
        </pc:spChg>
        <pc:spChg chg="add del mod modVis">
          <ac:chgData name="Warren Heaps" userId="b5f776f4-d2aa-4752-837a-86796e4c6c94" providerId="ADAL" clId="{775E38DF-7547-4EB7-819D-F21CF3EEFCB6}" dt="2025-10-08T01:50:54.621" v="81142"/>
          <ac:spMkLst>
            <pc:docMk/>
            <pc:sldMk cId="3828354993" sldId="333"/>
            <ac:spMk id="204" creationId="{71D1DAE1-BDB1-B896-F510-43F967240D9A}"/>
          </ac:spMkLst>
        </pc:spChg>
        <pc:spChg chg="add del mod modVis">
          <ac:chgData name="Warren Heaps" userId="b5f776f4-d2aa-4752-837a-86796e4c6c94" providerId="ADAL" clId="{775E38DF-7547-4EB7-819D-F21CF3EEFCB6}" dt="2025-10-08T01:50:55.807" v="81167"/>
          <ac:spMkLst>
            <pc:docMk/>
            <pc:sldMk cId="3828354993" sldId="333"/>
            <ac:spMk id="205" creationId="{4EA82D00-6CF4-A0FE-A6F0-87ACD8CA926B}"/>
          </ac:spMkLst>
        </pc:spChg>
        <pc:spChg chg="add del mod modVis">
          <ac:chgData name="Warren Heaps" userId="b5f776f4-d2aa-4752-837a-86796e4c6c94" providerId="ADAL" clId="{775E38DF-7547-4EB7-819D-F21CF3EEFCB6}" dt="2025-10-08T01:51:02.069" v="81206"/>
          <ac:spMkLst>
            <pc:docMk/>
            <pc:sldMk cId="3828354993" sldId="333"/>
            <ac:spMk id="206" creationId="{2FC1D027-23C8-8C95-4750-F8381E44CA67}"/>
          </ac:spMkLst>
        </pc:spChg>
        <pc:spChg chg="add del mod modVis">
          <ac:chgData name="Warren Heaps" userId="b5f776f4-d2aa-4752-837a-86796e4c6c94" providerId="ADAL" clId="{775E38DF-7547-4EB7-819D-F21CF3EEFCB6}" dt="2025-10-08T01:51:02.837" v="81247"/>
          <ac:spMkLst>
            <pc:docMk/>
            <pc:sldMk cId="3828354993" sldId="333"/>
            <ac:spMk id="207" creationId="{7C502FA7-6077-35E0-0C06-125B21F28F25}"/>
          </ac:spMkLst>
        </pc:spChg>
        <pc:spChg chg="add del mod modVis">
          <ac:chgData name="Warren Heaps" userId="b5f776f4-d2aa-4752-837a-86796e4c6c94" providerId="ADAL" clId="{775E38DF-7547-4EB7-819D-F21CF3EEFCB6}" dt="2025-10-08T01:51:11.812" v="81288"/>
          <ac:spMkLst>
            <pc:docMk/>
            <pc:sldMk cId="3828354993" sldId="333"/>
            <ac:spMk id="208" creationId="{13B80A30-96E8-5211-3647-D4C7344BC4A8}"/>
          </ac:spMkLst>
        </pc:spChg>
        <pc:spChg chg="add del mod modVis">
          <ac:chgData name="Warren Heaps" userId="b5f776f4-d2aa-4752-837a-86796e4c6c94" providerId="ADAL" clId="{775E38DF-7547-4EB7-819D-F21CF3EEFCB6}" dt="2025-10-08T01:51:13.081" v="81331"/>
          <ac:spMkLst>
            <pc:docMk/>
            <pc:sldMk cId="3828354993" sldId="333"/>
            <ac:spMk id="209" creationId="{B61F7E02-5E3E-60D6-1B04-41ECE0B05ED3}"/>
          </ac:spMkLst>
        </pc:spChg>
        <pc:spChg chg="add del mod modVis">
          <ac:chgData name="Warren Heaps" userId="b5f776f4-d2aa-4752-837a-86796e4c6c94" providerId="ADAL" clId="{775E38DF-7547-4EB7-819D-F21CF3EEFCB6}" dt="2025-10-08T01:51:14.196" v="81374"/>
          <ac:spMkLst>
            <pc:docMk/>
            <pc:sldMk cId="3828354993" sldId="333"/>
            <ac:spMk id="210" creationId="{C40B24AA-B448-531C-56AF-5A8EEA7514F5}"/>
          </ac:spMkLst>
        </pc:spChg>
        <pc:spChg chg="add del mod modVis">
          <ac:chgData name="Warren Heaps" userId="b5f776f4-d2aa-4752-837a-86796e4c6c94" providerId="ADAL" clId="{775E38DF-7547-4EB7-819D-F21CF3EEFCB6}" dt="2025-10-08T01:51:15.065" v="81415"/>
          <ac:spMkLst>
            <pc:docMk/>
            <pc:sldMk cId="3828354993" sldId="333"/>
            <ac:spMk id="211" creationId="{8A3BA6F6-E841-E5E7-104E-F5713BA1F413}"/>
          </ac:spMkLst>
        </pc:spChg>
        <pc:spChg chg="add del mod modVis">
          <ac:chgData name="Warren Heaps" userId="b5f776f4-d2aa-4752-837a-86796e4c6c94" providerId="ADAL" clId="{775E38DF-7547-4EB7-819D-F21CF3EEFCB6}" dt="2025-10-08T01:51:16.668" v="81459"/>
          <ac:spMkLst>
            <pc:docMk/>
            <pc:sldMk cId="3828354993" sldId="333"/>
            <ac:spMk id="212" creationId="{1F3D4FD6-EC4F-CF71-BB42-086C03E62FB4}"/>
          </ac:spMkLst>
        </pc:spChg>
        <pc:spChg chg="add del mod modVis">
          <ac:chgData name="Warren Heaps" userId="b5f776f4-d2aa-4752-837a-86796e4c6c94" providerId="ADAL" clId="{775E38DF-7547-4EB7-819D-F21CF3EEFCB6}" dt="2025-10-08T01:51:17.751" v="81504"/>
          <ac:spMkLst>
            <pc:docMk/>
            <pc:sldMk cId="3828354993" sldId="333"/>
            <ac:spMk id="213" creationId="{C9CD6C8F-D119-1907-8C80-B0386E7D14AA}"/>
          </ac:spMkLst>
        </pc:spChg>
        <pc:spChg chg="add del mod modVis">
          <ac:chgData name="Warren Heaps" userId="b5f776f4-d2aa-4752-837a-86796e4c6c94" providerId="ADAL" clId="{775E38DF-7547-4EB7-819D-F21CF3EEFCB6}" dt="2025-10-08T01:51:18.865" v="81545"/>
          <ac:spMkLst>
            <pc:docMk/>
            <pc:sldMk cId="3828354993" sldId="333"/>
            <ac:spMk id="214" creationId="{BE6E8376-7881-F050-A4FF-1F2FD4C505B0}"/>
          </ac:spMkLst>
        </pc:spChg>
        <pc:spChg chg="add del mod modVis">
          <ac:chgData name="Warren Heaps" userId="b5f776f4-d2aa-4752-837a-86796e4c6c94" providerId="ADAL" clId="{775E38DF-7547-4EB7-819D-F21CF3EEFCB6}" dt="2025-10-08T01:51:28.427" v="81586"/>
          <ac:spMkLst>
            <pc:docMk/>
            <pc:sldMk cId="3828354993" sldId="333"/>
            <ac:spMk id="215" creationId="{48CBA172-FD4B-6EE0-5097-1090CF711C7A}"/>
          </ac:spMkLst>
        </pc:spChg>
        <pc:spChg chg="add del mod modVis">
          <ac:chgData name="Warren Heaps" userId="b5f776f4-d2aa-4752-837a-86796e4c6c94" providerId="ADAL" clId="{775E38DF-7547-4EB7-819D-F21CF3EEFCB6}" dt="2025-10-08T01:52:16.430" v="81631"/>
          <ac:spMkLst>
            <pc:docMk/>
            <pc:sldMk cId="3828354993" sldId="333"/>
            <ac:spMk id="216" creationId="{C93B0229-ABD4-E53D-533F-B21FD7224161}"/>
          </ac:spMkLst>
        </pc:spChg>
        <pc:spChg chg="add del mod modVis">
          <ac:chgData name="Warren Heaps" userId="b5f776f4-d2aa-4752-837a-86796e4c6c94" providerId="ADAL" clId="{775E38DF-7547-4EB7-819D-F21CF3EEFCB6}" dt="2025-10-08T01:52:17.564" v="81672"/>
          <ac:spMkLst>
            <pc:docMk/>
            <pc:sldMk cId="3828354993" sldId="333"/>
            <ac:spMk id="217" creationId="{7BDF8FCE-7FAD-EB83-DCB5-835D20757EAD}"/>
          </ac:spMkLst>
        </pc:spChg>
        <pc:spChg chg="add del mod modVis">
          <ac:chgData name="Warren Heaps" userId="b5f776f4-d2aa-4752-837a-86796e4c6c94" providerId="ADAL" clId="{775E38DF-7547-4EB7-819D-F21CF3EEFCB6}" dt="2025-10-08T01:52:19.114" v="81714"/>
          <ac:spMkLst>
            <pc:docMk/>
            <pc:sldMk cId="3828354993" sldId="333"/>
            <ac:spMk id="218" creationId="{6010A965-D7BD-3F74-197B-B0D5D29F2AC9}"/>
          </ac:spMkLst>
        </pc:spChg>
        <pc:graphicFrameChg chg="add mod ord modVis">
          <ac:chgData name="Warren Heaps" userId="b5f776f4-d2aa-4752-837a-86796e4c6c94" providerId="ADAL" clId="{775E38DF-7547-4EB7-819D-F21CF3EEFCB6}" dt="2025-10-08T01:52:19.117" v="81716"/>
          <ac:graphicFrameMkLst>
            <pc:docMk/>
            <pc:sldMk cId="3828354993" sldId="333"/>
            <ac:graphicFrameMk id="3" creationId="{BD7306EA-4AFF-C3E8-FE3D-AD25E8EFCEAE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2:53.442" v="75693"/>
          <ac:graphicFrameMkLst>
            <pc:docMk/>
            <pc:sldMk cId="3828354993" sldId="333"/>
            <ac:graphicFrameMk id="32" creationId="{95168525-0119-8576-3BF2-98E29304E907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3:05.654" v="75755"/>
          <ac:graphicFrameMkLst>
            <pc:docMk/>
            <pc:sldMk cId="3828354993" sldId="333"/>
            <ac:graphicFrameMk id="36" creationId="{BE7265AF-B5EB-D46F-8C53-113B3C136E0F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3:15.208" v="75813"/>
          <ac:graphicFrameMkLst>
            <pc:docMk/>
            <pc:sldMk cId="3828354993" sldId="333"/>
            <ac:graphicFrameMk id="39" creationId="{9B06D9FD-1122-681D-5FDA-8FCE06319448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3:27.923" v="75865"/>
          <ac:graphicFrameMkLst>
            <pc:docMk/>
            <pc:sldMk cId="3828354993" sldId="333"/>
            <ac:graphicFrameMk id="42" creationId="{DB706F1E-9F14-8A7A-97EE-4B96EDAD79F9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3:34.249" v="75919"/>
          <ac:graphicFrameMkLst>
            <pc:docMk/>
            <pc:sldMk cId="3828354993" sldId="333"/>
            <ac:graphicFrameMk id="44" creationId="{0889B6E2-BAC0-D297-FE72-98794F769AA0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3:44.707" v="75963"/>
          <ac:graphicFrameMkLst>
            <pc:docMk/>
            <pc:sldMk cId="3828354993" sldId="333"/>
            <ac:graphicFrameMk id="46" creationId="{82CA28BA-F930-5D0F-A360-AD6FF0153CD3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3:53.716" v="76005"/>
          <ac:graphicFrameMkLst>
            <pc:docMk/>
            <pc:sldMk cId="3828354993" sldId="333"/>
            <ac:graphicFrameMk id="48" creationId="{904443CF-BB18-6F69-2899-58CB89CE80B9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3:59.582" v="76047"/>
          <ac:graphicFrameMkLst>
            <pc:docMk/>
            <pc:sldMk cId="3828354993" sldId="333"/>
            <ac:graphicFrameMk id="50" creationId="{2EFB8362-1152-9880-5899-0E2F79B3F4BD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4:10.631" v="76089"/>
          <ac:graphicFrameMkLst>
            <pc:docMk/>
            <pc:sldMk cId="3828354993" sldId="333"/>
            <ac:graphicFrameMk id="52" creationId="{60F81CE9-EFBA-5CAE-8DEA-2093B64B16E9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4:52.140" v="76131"/>
          <ac:graphicFrameMkLst>
            <pc:docMk/>
            <pc:sldMk cId="3828354993" sldId="333"/>
            <ac:graphicFrameMk id="54" creationId="{6EC69E4B-9F7A-6CAC-0136-2055F2592A9F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4:56.583" v="76173"/>
          <ac:graphicFrameMkLst>
            <pc:docMk/>
            <pc:sldMk cId="3828354993" sldId="333"/>
            <ac:graphicFrameMk id="56" creationId="{26C882A7-7E09-7BA2-4FB7-AA559983CAC2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5:02.193" v="76215"/>
          <ac:graphicFrameMkLst>
            <pc:docMk/>
            <pc:sldMk cId="3828354993" sldId="333"/>
            <ac:graphicFrameMk id="58" creationId="{BA7CE135-F5C8-0591-B989-6DBE77BA8B14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5:07.902" v="76257"/>
          <ac:graphicFrameMkLst>
            <pc:docMk/>
            <pc:sldMk cId="3828354993" sldId="333"/>
            <ac:graphicFrameMk id="60" creationId="{201C5858-0F6B-8EA7-FC69-2E8BB5147AF2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5:23.496" v="76312"/>
          <ac:graphicFrameMkLst>
            <pc:docMk/>
            <pc:sldMk cId="3828354993" sldId="333"/>
            <ac:graphicFrameMk id="62" creationId="{656EC22F-4506-EB5B-D5EC-96320366462B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5:32.188" v="76339"/>
          <ac:graphicFrameMkLst>
            <pc:docMk/>
            <pc:sldMk cId="3828354993" sldId="333"/>
            <ac:graphicFrameMk id="63" creationId="{FBF806C6-FC38-2845-4A98-1D7D9E08FE4D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5:33.961" v="76432"/>
          <ac:graphicFrameMkLst>
            <pc:docMk/>
            <pc:sldMk cId="3828354993" sldId="333"/>
            <ac:graphicFrameMk id="64" creationId="{163916D6-2F5B-D6A8-EEA7-65F6EF1B1FCB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5:42.566" v="76457"/>
          <ac:graphicFrameMkLst>
            <pc:docMk/>
            <pc:sldMk cId="3828354993" sldId="333"/>
            <ac:graphicFrameMk id="67" creationId="{10F5B311-2CA1-F898-5DFE-8AC7C66146D7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5:55.934" v="76577"/>
          <ac:graphicFrameMkLst>
            <pc:docMk/>
            <pc:sldMk cId="3828354993" sldId="333"/>
            <ac:graphicFrameMk id="68" creationId="{86441349-C00F-AB66-AC9C-B93D036FADFE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6:08.168" v="76658"/>
          <ac:graphicFrameMkLst>
            <pc:docMk/>
            <pc:sldMk cId="3828354993" sldId="333"/>
            <ac:graphicFrameMk id="70" creationId="{7FC249C3-ECA4-C783-BF1F-C88E0CDDED0D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6:12.230" v="76753"/>
          <ac:graphicFrameMkLst>
            <pc:docMk/>
            <pc:sldMk cId="3828354993" sldId="333"/>
            <ac:graphicFrameMk id="72" creationId="{1B41E20A-F366-FAF6-243B-CE065AE1EBE6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6:18.180" v="76778"/>
          <ac:graphicFrameMkLst>
            <pc:docMk/>
            <pc:sldMk cId="3828354993" sldId="333"/>
            <ac:graphicFrameMk id="75" creationId="{BDC64D94-6268-3A62-17B7-B3CA967AC253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6:22.220" v="76829"/>
          <ac:graphicFrameMkLst>
            <pc:docMk/>
            <pc:sldMk cId="3828354993" sldId="333"/>
            <ac:graphicFrameMk id="76" creationId="{B338FE55-B8B0-1667-A82A-C9FE164DC57F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7:22.188" v="76938"/>
          <ac:graphicFrameMkLst>
            <pc:docMk/>
            <pc:sldMk cId="3828354993" sldId="333"/>
            <ac:graphicFrameMk id="78" creationId="{B23E655F-479C-3EA4-A622-E16235434278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8:56.458" v="77552"/>
          <ac:graphicFrameMkLst>
            <pc:docMk/>
            <pc:sldMk cId="3828354993" sldId="333"/>
            <ac:graphicFrameMk id="79" creationId="{D7706166-C6EA-1214-8355-E36D7E72C2FE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29:03.109" v="77577"/>
          <ac:graphicFrameMkLst>
            <pc:docMk/>
            <pc:sldMk cId="3828354993" sldId="333"/>
            <ac:graphicFrameMk id="97" creationId="{5B9C3B2A-A539-F569-48DE-8D6A7756637C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43:16.156" v="78636"/>
          <ac:graphicFrameMkLst>
            <pc:docMk/>
            <pc:sldMk cId="3828354993" sldId="333"/>
            <ac:graphicFrameMk id="98" creationId="{F3F8B8A2-40BC-0AD1-28CD-A2B03B9B7B84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43:23.996" v="78683"/>
          <ac:graphicFrameMkLst>
            <pc:docMk/>
            <pc:sldMk cId="3828354993" sldId="333"/>
            <ac:graphicFrameMk id="129" creationId="{71C89836-D3B4-08FD-CB0A-A990C17C6F85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43:30.787" v="78730"/>
          <ac:graphicFrameMkLst>
            <pc:docMk/>
            <pc:sldMk cId="3828354993" sldId="333"/>
            <ac:graphicFrameMk id="131" creationId="{0B3264C7-054C-9F63-6DDE-CAD293B7D6D0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43:47.742" v="78798"/>
          <ac:graphicFrameMkLst>
            <pc:docMk/>
            <pc:sldMk cId="3828354993" sldId="333"/>
            <ac:graphicFrameMk id="133" creationId="{2B270BB7-CC5C-59CA-F25E-BBE36CC08751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44:10.581" v="78833"/>
          <ac:graphicFrameMkLst>
            <pc:docMk/>
            <pc:sldMk cId="3828354993" sldId="333"/>
            <ac:graphicFrameMk id="135" creationId="{638016AF-58F2-A560-AF6F-F593A030AEBD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48:57.131" v="80611"/>
          <ac:graphicFrameMkLst>
            <pc:docMk/>
            <pc:sldMk cId="3828354993" sldId="333"/>
            <ac:graphicFrameMk id="136" creationId="{0DE53881-09A6-AA91-6D8A-D99A8A19454C}"/>
          </ac:graphicFrameMkLst>
        </pc:graphicFrameChg>
        <pc:graphicFrameChg chg="add del mod ord">
          <ac:chgData name="Warren Heaps" userId="b5f776f4-d2aa-4752-837a-86796e4c6c94" providerId="ADAL" clId="{775E38DF-7547-4EB7-819D-F21CF3EEFCB6}" dt="2025-10-08T01:49:15.411" v="80678"/>
          <ac:graphicFrameMkLst>
            <pc:docMk/>
            <pc:sldMk cId="3828354993" sldId="333"/>
            <ac:graphicFrameMk id="188" creationId="{57DB3280-31BC-DDC5-3129-95FC887E3686}"/>
          </ac:graphicFrameMkLst>
        </pc:graphicFrameChg>
        <pc:graphicFrameChg chg="add mod ord">
          <ac:chgData name="Warren Heaps" userId="b5f776f4-d2aa-4752-837a-86796e4c6c94" providerId="ADAL" clId="{775E38DF-7547-4EB7-819D-F21CF3EEFCB6}" dt="2025-10-08T01:49:15.515" v="80688"/>
          <ac:graphicFrameMkLst>
            <pc:docMk/>
            <pc:sldMk cId="3828354993" sldId="333"/>
            <ac:graphicFrameMk id="190" creationId="{DC034237-85B4-23F8-48BF-32B37DF45498}"/>
          </ac:graphicFrameMkLst>
        </pc:graphicFrameChg>
      </pc:sldChg>
      <pc:sldChg chg="add del">
        <pc:chgData name="Warren Heaps" userId="b5f776f4-d2aa-4752-837a-86796e4c6c94" providerId="ADAL" clId="{775E38DF-7547-4EB7-819D-F21CF3EEFCB6}" dt="2025-10-08T13:55:15.454" v="97431" actId="47"/>
        <pc:sldMkLst>
          <pc:docMk/>
          <pc:sldMk cId="330307654" sldId="335"/>
        </pc:sldMkLst>
      </pc:sldChg>
      <pc:sldChg chg="addSp delSp modSp add mod ord">
        <pc:chgData name="Warren Heaps" userId="b5f776f4-d2aa-4752-837a-86796e4c6c94" providerId="ADAL" clId="{775E38DF-7547-4EB7-819D-F21CF3EEFCB6}" dt="2025-10-08T14:00:03.039" v="99104"/>
        <pc:sldMkLst>
          <pc:docMk/>
          <pc:sldMk cId="3305378024" sldId="335"/>
        </pc:sldMkLst>
        <pc:spChg chg="add del mod modVis">
          <ac:chgData name="Warren Heaps" userId="b5f776f4-d2aa-4752-837a-86796e4c6c94" providerId="ADAL" clId="{775E38DF-7547-4EB7-819D-F21CF3EEFCB6}" dt="2025-10-08T13:58:03.716" v="97980"/>
          <ac:spMkLst>
            <pc:docMk/>
            <pc:sldMk cId="3305378024" sldId="335"/>
            <ac:spMk id="2" creationId="{108959CB-C711-AE40-A9F7-85889A4BB463}"/>
          </ac:spMkLst>
        </pc:spChg>
        <pc:spChg chg="mod">
          <ac:chgData name="Warren Heaps" userId="b5f776f4-d2aa-4752-837a-86796e4c6c94" providerId="ADAL" clId="{775E38DF-7547-4EB7-819D-F21CF3EEFCB6}" dt="2025-10-08T13:58:18.996" v="98169" actId="948"/>
          <ac:spMkLst>
            <pc:docMk/>
            <pc:sldMk cId="3305378024" sldId="335"/>
            <ac:spMk id="3" creationId="{4895D9D4-A8AD-354B-3B8B-150F0A8C5F9E}"/>
          </ac:spMkLst>
        </pc:spChg>
        <pc:spChg chg="mod">
          <ac:chgData name="Warren Heaps" userId="b5f776f4-d2aa-4752-837a-86796e4c6c94" providerId="ADAL" clId="{775E38DF-7547-4EB7-819D-F21CF3EEFCB6}" dt="2025-10-08T14:00:02.915" v="99081"/>
          <ac:spMkLst>
            <pc:docMk/>
            <pc:sldMk cId="3305378024" sldId="335"/>
            <ac:spMk id="4" creationId="{4927E384-6EA3-4477-26F1-946C3C8BEB78}"/>
          </ac:spMkLst>
        </pc:spChg>
        <pc:spChg chg="add del mod modVis">
          <ac:chgData name="Warren Heaps" userId="b5f776f4-d2aa-4752-837a-86796e4c6c94" providerId="ADAL" clId="{775E38DF-7547-4EB7-819D-F21CF3EEFCB6}" dt="2025-10-08T13:58:07.723" v="98027"/>
          <ac:spMkLst>
            <pc:docMk/>
            <pc:sldMk cId="3305378024" sldId="335"/>
            <ac:spMk id="6" creationId="{1E8A54E6-54C3-34B9-39E4-90EFF2765386}"/>
          </ac:spMkLst>
        </pc:spChg>
        <pc:spChg chg="add del mod modVis">
          <ac:chgData name="Warren Heaps" userId="b5f776f4-d2aa-4752-837a-86796e4c6c94" providerId="ADAL" clId="{775E38DF-7547-4EB7-819D-F21CF3EEFCB6}" dt="2025-10-08T13:58:11.429" v="98060"/>
          <ac:spMkLst>
            <pc:docMk/>
            <pc:sldMk cId="3305378024" sldId="335"/>
            <ac:spMk id="7" creationId="{E496F162-DF44-A7EE-7CF8-5CF91A022155}"/>
          </ac:spMkLst>
        </pc:spChg>
        <pc:spChg chg="add del mod modVis">
          <ac:chgData name="Warren Heaps" userId="b5f776f4-d2aa-4752-837a-86796e4c6c94" providerId="ADAL" clId="{775E38DF-7547-4EB7-819D-F21CF3EEFCB6}" dt="2025-10-08T13:58:13.278" v="98089"/>
          <ac:spMkLst>
            <pc:docMk/>
            <pc:sldMk cId="3305378024" sldId="335"/>
            <ac:spMk id="8" creationId="{E2FD467D-1BDC-5E61-2437-CA31FB80F951}"/>
          </ac:spMkLst>
        </pc:spChg>
        <pc:spChg chg="add del mod modVis">
          <ac:chgData name="Warren Heaps" userId="b5f776f4-d2aa-4752-837a-86796e4c6c94" providerId="ADAL" clId="{775E38DF-7547-4EB7-819D-F21CF3EEFCB6}" dt="2025-10-08T13:58:13.986" v="98114"/>
          <ac:spMkLst>
            <pc:docMk/>
            <pc:sldMk cId="3305378024" sldId="335"/>
            <ac:spMk id="9" creationId="{9665A50D-ADF5-D252-6A88-22A2963FBFB1}"/>
          </ac:spMkLst>
        </pc:spChg>
        <pc:spChg chg="add del mod modVis">
          <ac:chgData name="Warren Heaps" userId="b5f776f4-d2aa-4752-837a-86796e4c6c94" providerId="ADAL" clId="{775E38DF-7547-4EB7-819D-F21CF3EEFCB6}" dt="2025-10-08T13:58:16.134" v="98139"/>
          <ac:spMkLst>
            <pc:docMk/>
            <pc:sldMk cId="3305378024" sldId="335"/>
            <ac:spMk id="10" creationId="{95EBA4A2-9322-6BD7-B479-20697BD617C7}"/>
          </ac:spMkLst>
        </pc:spChg>
        <pc:spChg chg="add del mod modVis">
          <ac:chgData name="Warren Heaps" userId="b5f776f4-d2aa-4752-837a-86796e4c6c94" providerId="ADAL" clId="{775E38DF-7547-4EB7-819D-F21CF3EEFCB6}" dt="2025-10-08T13:58:18.030" v="98164"/>
          <ac:spMkLst>
            <pc:docMk/>
            <pc:sldMk cId="3305378024" sldId="335"/>
            <ac:spMk id="11" creationId="{A67DE9F8-E064-D9E6-B40F-4F3954356D18}"/>
          </ac:spMkLst>
        </pc:spChg>
        <pc:spChg chg="add del mod modVis">
          <ac:chgData name="Warren Heaps" userId="b5f776f4-d2aa-4752-837a-86796e4c6c94" providerId="ADAL" clId="{775E38DF-7547-4EB7-819D-F21CF3EEFCB6}" dt="2025-10-08T13:58:19.062" v="98190"/>
          <ac:spMkLst>
            <pc:docMk/>
            <pc:sldMk cId="3305378024" sldId="335"/>
            <ac:spMk id="12" creationId="{AC0B8629-8B80-75D9-80CC-21AE01A9D42B}"/>
          </ac:spMkLst>
        </pc:spChg>
        <pc:spChg chg="add del mod modVis">
          <ac:chgData name="Warren Heaps" userId="b5f776f4-d2aa-4752-837a-86796e4c6c94" providerId="ADAL" clId="{775E38DF-7547-4EB7-819D-F21CF3EEFCB6}" dt="2025-10-08T13:58:36.136" v="98246"/>
          <ac:spMkLst>
            <pc:docMk/>
            <pc:sldMk cId="3305378024" sldId="335"/>
            <ac:spMk id="13" creationId="{DC81C712-F65B-D752-1E34-18996EFFFEB3}"/>
          </ac:spMkLst>
        </pc:spChg>
        <pc:spChg chg="add del mod modVis">
          <ac:chgData name="Warren Heaps" userId="b5f776f4-d2aa-4752-837a-86796e4c6c94" providerId="ADAL" clId="{775E38DF-7547-4EB7-819D-F21CF3EEFCB6}" dt="2025-10-08T13:58:37.530" v="98274"/>
          <ac:spMkLst>
            <pc:docMk/>
            <pc:sldMk cId="3305378024" sldId="335"/>
            <ac:spMk id="14" creationId="{D9C8199F-9550-8E02-35C5-980811A91707}"/>
          </ac:spMkLst>
        </pc:spChg>
        <pc:spChg chg="add del mod modVis">
          <ac:chgData name="Warren Heaps" userId="b5f776f4-d2aa-4752-837a-86796e4c6c94" providerId="ADAL" clId="{775E38DF-7547-4EB7-819D-F21CF3EEFCB6}" dt="2025-10-08T13:58:41.391" v="98323"/>
          <ac:spMkLst>
            <pc:docMk/>
            <pc:sldMk cId="3305378024" sldId="335"/>
            <ac:spMk id="15" creationId="{4C8F718D-782E-6459-62CD-63BACA3AFFE4}"/>
          </ac:spMkLst>
        </pc:spChg>
        <pc:spChg chg="add del mod modVis">
          <ac:chgData name="Warren Heaps" userId="b5f776f4-d2aa-4752-837a-86796e4c6c94" providerId="ADAL" clId="{775E38DF-7547-4EB7-819D-F21CF3EEFCB6}" dt="2025-10-08T13:58:45.611" v="98371"/>
          <ac:spMkLst>
            <pc:docMk/>
            <pc:sldMk cId="3305378024" sldId="335"/>
            <ac:spMk id="16" creationId="{9EFCE53E-B834-39A7-A201-6C76C8B4D653}"/>
          </ac:spMkLst>
        </pc:spChg>
        <pc:spChg chg="add del mod modVis">
          <ac:chgData name="Warren Heaps" userId="b5f776f4-d2aa-4752-837a-86796e4c6c94" providerId="ADAL" clId="{775E38DF-7547-4EB7-819D-F21CF3EEFCB6}" dt="2025-10-08T13:58:49.419" v="98399"/>
          <ac:spMkLst>
            <pc:docMk/>
            <pc:sldMk cId="3305378024" sldId="335"/>
            <ac:spMk id="17" creationId="{F199456B-8F1B-1AAF-757C-7CC92CBD9B21}"/>
          </ac:spMkLst>
        </pc:spChg>
        <pc:spChg chg="add del mod modVis">
          <ac:chgData name="Warren Heaps" userId="b5f776f4-d2aa-4752-837a-86796e4c6c94" providerId="ADAL" clId="{775E38DF-7547-4EB7-819D-F21CF3EEFCB6}" dt="2025-10-08T13:58:52.642" v="98429"/>
          <ac:spMkLst>
            <pc:docMk/>
            <pc:sldMk cId="3305378024" sldId="335"/>
            <ac:spMk id="18" creationId="{97967023-B91F-B5A7-ACAE-101504ACD58F}"/>
          </ac:spMkLst>
        </pc:spChg>
        <pc:spChg chg="add del mod modVis">
          <ac:chgData name="Warren Heaps" userId="b5f776f4-d2aa-4752-837a-86796e4c6c94" providerId="ADAL" clId="{775E38DF-7547-4EB7-819D-F21CF3EEFCB6}" dt="2025-10-08T13:58:53.752" v="98454"/>
          <ac:spMkLst>
            <pc:docMk/>
            <pc:sldMk cId="3305378024" sldId="335"/>
            <ac:spMk id="19" creationId="{35ED92B3-0891-687C-C292-DFA45619929B}"/>
          </ac:spMkLst>
        </pc:spChg>
        <pc:spChg chg="add del mod modVis">
          <ac:chgData name="Warren Heaps" userId="b5f776f4-d2aa-4752-837a-86796e4c6c94" providerId="ADAL" clId="{775E38DF-7547-4EB7-819D-F21CF3EEFCB6}" dt="2025-10-08T13:58:55.625" v="98484"/>
          <ac:spMkLst>
            <pc:docMk/>
            <pc:sldMk cId="3305378024" sldId="335"/>
            <ac:spMk id="20" creationId="{5CC60FA7-234F-2630-AB6C-14291AFC4202}"/>
          </ac:spMkLst>
        </pc:spChg>
        <pc:spChg chg="add del mod modVis">
          <ac:chgData name="Warren Heaps" userId="b5f776f4-d2aa-4752-837a-86796e4c6c94" providerId="ADAL" clId="{775E38DF-7547-4EB7-819D-F21CF3EEFCB6}" dt="2025-10-08T13:59:01.275" v="98509"/>
          <ac:spMkLst>
            <pc:docMk/>
            <pc:sldMk cId="3305378024" sldId="335"/>
            <ac:spMk id="21" creationId="{6FBEB666-8893-8D4A-43FD-2CC9050D1F69}"/>
          </ac:spMkLst>
        </pc:spChg>
        <pc:spChg chg="add del mod modVis">
          <ac:chgData name="Warren Heaps" userId="b5f776f4-d2aa-4752-837a-86796e4c6c94" providerId="ADAL" clId="{775E38DF-7547-4EB7-819D-F21CF3EEFCB6}" dt="2025-10-08T13:59:08.417" v="98542"/>
          <ac:spMkLst>
            <pc:docMk/>
            <pc:sldMk cId="3305378024" sldId="335"/>
            <ac:spMk id="22" creationId="{0A91CEE5-7D7E-7E2D-7BE2-8E7328306522}"/>
          </ac:spMkLst>
        </pc:spChg>
        <pc:spChg chg="add del mod modVis">
          <ac:chgData name="Warren Heaps" userId="b5f776f4-d2aa-4752-837a-86796e4c6c94" providerId="ADAL" clId="{775E38DF-7547-4EB7-819D-F21CF3EEFCB6}" dt="2025-10-08T13:59:09.446" v="98567"/>
          <ac:spMkLst>
            <pc:docMk/>
            <pc:sldMk cId="3305378024" sldId="335"/>
            <ac:spMk id="23" creationId="{4FEAE2A6-4BAF-7BF5-0D14-8D6691134C05}"/>
          </ac:spMkLst>
        </pc:spChg>
        <pc:spChg chg="add del mod modVis">
          <ac:chgData name="Warren Heaps" userId="b5f776f4-d2aa-4752-837a-86796e4c6c94" providerId="ADAL" clId="{775E38DF-7547-4EB7-819D-F21CF3EEFCB6}" dt="2025-10-08T13:59:10.177" v="98593"/>
          <ac:spMkLst>
            <pc:docMk/>
            <pc:sldMk cId="3305378024" sldId="335"/>
            <ac:spMk id="24" creationId="{5DAFF543-C57E-8E79-2FDD-BD8BCF4A8918}"/>
          </ac:spMkLst>
        </pc:spChg>
        <pc:spChg chg="add del mod modVis">
          <ac:chgData name="Warren Heaps" userId="b5f776f4-d2aa-4752-837a-86796e4c6c94" providerId="ADAL" clId="{775E38DF-7547-4EB7-819D-F21CF3EEFCB6}" dt="2025-10-08T13:59:12.407" v="98618"/>
          <ac:spMkLst>
            <pc:docMk/>
            <pc:sldMk cId="3305378024" sldId="335"/>
            <ac:spMk id="25" creationId="{0183AA35-0A44-5D7E-9F52-15CEA4358EBF}"/>
          </ac:spMkLst>
        </pc:spChg>
        <pc:spChg chg="add del mod modVis">
          <ac:chgData name="Warren Heaps" userId="b5f776f4-d2aa-4752-837a-86796e4c6c94" providerId="ADAL" clId="{775E38DF-7547-4EB7-819D-F21CF3EEFCB6}" dt="2025-10-08T13:59:21.468" v="98644"/>
          <ac:spMkLst>
            <pc:docMk/>
            <pc:sldMk cId="3305378024" sldId="335"/>
            <ac:spMk id="26" creationId="{1BF722F7-AA64-71B6-D5C6-F11D37C8D952}"/>
          </ac:spMkLst>
        </pc:spChg>
        <pc:spChg chg="add del mod modVis">
          <ac:chgData name="Warren Heaps" userId="b5f776f4-d2aa-4752-837a-86796e4c6c94" providerId="ADAL" clId="{775E38DF-7547-4EB7-819D-F21CF3EEFCB6}" dt="2025-10-08T13:59:27.486" v="98670"/>
          <ac:spMkLst>
            <pc:docMk/>
            <pc:sldMk cId="3305378024" sldId="335"/>
            <ac:spMk id="27" creationId="{47DDE127-7553-B509-E8A1-823C9B8F0AB1}"/>
          </ac:spMkLst>
        </pc:spChg>
        <pc:spChg chg="add del mod modVis">
          <ac:chgData name="Warren Heaps" userId="b5f776f4-d2aa-4752-837a-86796e4c6c94" providerId="ADAL" clId="{775E38DF-7547-4EB7-819D-F21CF3EEFCB6}" dt="2025-10-08T13:59:30.292" v="98695"/>
          <ac:spMkLst>
            <pc:docMk/>
            <pc:sldMk cId="3305378024" sldId="335"/>
            <ac:spMk id="28" creationId="{FA03D783-EFD1-A69D-185A-BEF5905124D8}"/>
          </ac:spMkLst>
        </pc:spChg>
        <pc:spChg chg="add del mod modVis">
          <ac:chgData name="Warren Heaps" userId="b5f776f4-d2aa-4752-837a-86796e4c6c94" providerId="ADAL" clId="{775E38DF-7547-4EB7-819D-F21CF3EEFCB6}" dt="2025-10-08T13:59:32.056" v="98725"/>
          <ac:spMkLst>
            <pc:docMk/>
            <pc:sldMk cId="3305378024" sldId="335"/>
            <ac:spMk id="29" creationId="{7D96E50F-CA83-C5C2-58B9-BFD8264849F2}"/>
          </ac:spMkLst>
        </pc:spChg>
        <pc:spChg chg="add del mod modVis">
          <ac:chgData name="Warren Heaps" userId="b5f776f4-d2aa-4752-837a-86796e4c6c94" providerId="ADAL" clId="{775E38DF-7547-4EB7-819D-F21CF3EEFCB6}" dt="2025-10-08T13:59:33.988" v="98756"/>
          <ac:spMkLst>
            <pc:docMk/>
            <pc:sldMk cId="3305378024" sldId="335"/>
            <ac:spMk id="30" creationId="{494C54BD-AE30-5F45-ED1C-6476927C5117}"/>
          </ac:spMkLst>
        </pc:spChg>
        <pc:spChg chg="add del mod modVis">
          <ac:chgData name="Warren Heaps" userId="b5f776f4-d2aa-4752-837a-86796e4c6c94" providerId="ADAL" clId="{775E38DF-7547-4EB7-819D-F21CF3EEFCB6}" dt="2025-10-08T13:59:35.056" v="98784"/>
          <ac:spMkLst>
            <pc:docMk/>
            <pc:sldMk cId="3305378024" sldId="335"/>
            <ac:spMk id="31" creationId="{129C7FFA-6D18-0D93-440F-D9DB52B42BB8}"/>
          </ac:spMkLst>
        </pc:spChg>
        <pc:spChg chg="add del mod modVis">
          <ac:chgData name="Warren Heaps" userId="b5f776f4-d2aa-4752-837a-86796e4c6c94" providerId="ADAL" clId="{775E38DF-7547-4EB7-819D-F21CF3EEFCB6}" dt="2025-10-08T13:59:35.699" v="98810"/>
          <ac:spMkLst>
            <pc:docMk/>
            <pc:sldMk cId="3305378024" sldId="335"/>
            <ac:spMk id="32" creationId="{72A048DA-4B6A-7C55-217D-9086E9C50D64}"/>
          </ac:spMkLst>
        </pc:spChg>
        <pc:spChg chg="add del mod modVis">
          <ac:chgData name="Warren Heaps" userId="b5f776f4-d2aa-4752-837a-86796e4c6c94" providerId="ADAL" clId="{775E38DF-7547-4EB7-819D-F21CF3EEFCB6}" dt="2025-10-08T13:59:38.516" v="98842"/>
          <ac:spMkLst>
            <pc:docMk/>
            <pc:sldMk cId="3305378024" sldId="335"/>
            <ac:spMk id="33" creationId="{C7D0A060-CB67-7954-C39D-00BEDC5B6682}"/>
          </ac:spMkLst>
        </pc:spChg>
        <pc:spChg chg="add del mod modVis">
          <ac:chgData name="Warren Heaps" userId="b5f776f4-d2aa-4752-837a-86796e4c6c94" providerId="ADAL" clId="{775E38DF-7547-4EB7-819D-F21CF3EEFCB6}" dt="2025-10-08T13:59:39.546" v="98870"/>
          <ac:spMkLst>
            <pc:docMk/>
            <pc:sldMk cId="3305378024" sldId="335"/>
            <ac:spMk id="34" creationId="{9A7D15C5-ECE5-E9C6-2B44-4A2E996C031A}"/>
          </ac:spMkLst>
        </pc:spChg>
        <pc:spChg chg="add del mod modVis">
          <ac:chgData name="Warren Heaps" userId="b5f776f4-d2aa-4752-837a-86796e4c6c94" providerId="ADAL" clId="{775E38DF-7547-4EB7-819D-F21CF3EEFCB6}" dt="2025-10-08T13:59:46.928" v="98896"/>
          <ac:spMkLst>
            <pc:docMk/>
            <pc:sldMk cId="3305378024" sldId="335"/>
            <ac:spMk id="35" creationId="{9C9A323C-AABA-5769-F4F2-529D68D49C0B}"/>
          </ac:spMkLst>
        </pc:spChg>
        <pc:spChg chg="add del mod modVis">
          <ac:chgData name="Warren Heaps" userId="b5f776f4-d2aa-4752-837a-86796e4c6c94" providerId="ADAL" clId="{775E38DF-7547-4EB7-819D-F21CF3EEFCB6}" dt="2025-10-08T13:59:48.618" v="98927"/>
          <ac:spMkLst>
            <pc:docMk/>
            <pc:sldMk cId="3305378024" sldId="335"/>
            <ac:spMk id="36" creationId="{8F022E9F-C480-33DF-6209-A422CE22C446}"/>
          </ac:spMkLst>
        </pc:spChg>
        <pc:spChg chg="add del mod modVis">
          <ac:chgData name="Warren Heaps" userId="b5f776f4-d2aa-4752-837a-86796e4c6c94" providerId="ADAL" clId="{775E38DF-7547-4EB7-819D-F21CF3EEFCB6}" dt="2025-10-08T13:59:50.263" v="98952"/>
          <ac:spMkLst>
            <pc:docMk/>
            <pc:sldMk cId="3305378024" sldId="335"/>
            <ac:spMk id="37" creationId="{867E74FE-2B77-6E5B-0261-871EA79CE976}"/>
          </ac:spMkLst>
        </pc:spChg>
        <pc:spChg chg="add del mod modVis">
          <ac:chgData name="Warren Heaps" userId="b5f776f4-d2aa-4752-837a-86796e4c6c94" providerId="ADAL" clId="{775E38DF-7547-4EB7-819D-F21CF3EEFCB6}" dt="2025-10-08T13:59:50.956" v="98977"/>
          <ac:spMkLst>
            <pc:docMk/>
            <pc:sldMk cId="3305378024" sldId="335"/>
            <ac:spMk id="38" creationId="{C4BC6874-E523-0B2A-D514-B3EDBFA9FEF4}"/>
          </ac:spMkLst>
        </pc:spChg>
        <pc:spChg chg="add del mod modVis">
          <ac:chgData name="Warren Heaps" userId="b5f776f4-d2aa-4752-837a-86796e4c6c94" providerId="ADAL" clId="{775E38DF-7547-4EB7-819D-F21CF3EEFCB6}" dt="2025-10-08T13:59:54.006" v="99002"/>
          <ac:spMkLst>
            <pc:docMk/>
            <pc:sldMk cId="3305378024" sldId="335"/>
            <ac:spMk id="39" creationId="{22D6E974-56FC-8CDF-E003-EEA00ED9C3F1}"/>
          </ac:spMkLst>
        </pc:spChg>
        <pc:spChg chg="add del mod modVis">
          <ac:chgData name="Warren Heaps" userId="b5f776f4-d2aa-4752-837a-86796e4c6c94" providerId="ADAL" clId="{775E38DF-7547-4EB7-819D-F21CF3EEFCB6}" dt="2025-10-08T13:59:56.868" v="99043"/>
          <ac:spMkLst>
            <pc:docMk/>
            <pc:sldMk cId="3305378024" sldId="335"/>
            <ac:spMk id="40" creationId="{F75454ED-A870-B731-BD37-B66E10D2246C}"/>
          </ac:spMkLst>
        </pc:spChg>
        <pc:spChg chg="add del mod modVis">
          <ac:chgData name="Warren Heaps" userId="b5f776f4-d2aa-4752-837a-86796e4c6c94" providerId="ADAL" clId="{775E38DF-7547-4EB7-819D-F21CF3EEFCB6}" dt="2025-10-08T13:59:59.130" v="99077"/>
          <ac:spMkLst>
            <pc:docMk/>
            <pc:sldMk cId="3305378024" sldId="335"/>
            <ac:spMk id="41" creationId="{E0772B8D-19BA-6DE3-25D0-C7EE60BF8C86}"/>
          </ac:spMkLst>
        </pc:spChg>
        <pc:spChg chg="add del mod modVis">
          <ac:chgData name="Warren Heaps" userId="b5f776f4-d2aa-4752-837a-86796e4c6c94" providerId="ADAL" clId="{775E38DF-7547-4EB7-819D-F21CF3EEFCB6}" dt="2025-10-08T14:00:03.035" v="99102"/>
          <ac:spMkLst>
            <pc:docMk/>
            <pc:sldMk cId="3305378024" sldId="335"/>
            <ac:spMk id="42" creationId="{275286E3-6791-ABC1-F0EA-76834ECDCD74}"/>
          </ac:spMkLst>
        </pc:spChg>
        <pc:graphicFrameChg chg="mod">
          <ac:chgData name="Warren Heaps" userId="b5f776f4-d2aa-4752-837a-86796e4c6c94" providerId="ADAL" clId="{775E38DF-7547-4EB7-819D-F21CF3EEFCB6}" dt="2025-10-08T14:00:03.039" v="99104"/>
          <ac:graphicFrameMkLst>
            <pc:docMk/>
            <pc:sldMk cId="3305378024" sldId="335"/>
            <ac:graphicFrameMk id="5" creationId="{F22AE4EB-ECCA-4E5B-630B-3BF4A5D424F8}"/>
          </ac:graphicFrameMkLst>
        </pc:graphicFrameChg>
      </pc:sldChg>
      <pc:sldChg chg="addSp delSp modSp new mod">
        <pc:chgData name="Warren Heaps" userId="b5f776f4-d2aa-4752-837a-86796e4c6c94" providerId="ADAL" clId="{775E38DF-7547-4EB7-819D-F21CF3EEFCB6}" dt="2025-10-08T15:18:19.759" v="104177"/>
        <pc:sldMkLst>
          <pc:docMk/>
          <pc:sldMk cId="295721127" sldId="336"/>
        </pc:sldMkLst>
        <pc:spChg chg="mod ord">
          <ac:chgData name="Warren Heaps" userId="b5f776f4-d2aa-4752-837a-86796e4c6c94" providerId="ADAL" clId="{775E38DF-7547-4EB7-819D-F21CF3EEFCB6}" dt="2025-10-08T15:03:40.689" v="102009"/>
          <ac:spMkLst>
            <pc:docMk/>
            <pc:sldMk cId="295721127" sldId="336"/>
            <ac:spMk id="2" creationId="{BD9F7502-1020-0934-A878-DD1A8C0935B1}"/>
          </ac:spMkLst>
        </pc:spChg>
        <pc:spChg chg="add del mod modVis">
          <ac:chgData name="Warren Heaps" userId="b5f776f4-d2aa-4752-837a-86796e4c6c94" providerId="ADAL" clId="{775E38DF-7547-4EB7-819D-F21CF3EEFCB6}" dt="2025-10-08T15:00:00.622" v="101883"/>
          <ac:spMkLst>
            <pc:docMk/>
            <pc:sldMk cId="295721127" sldId="336"/>
            <ac:spMk id="3" creationId="{8A874DB7-892A-5CA0-C826-582D6F4EAFC6}"/>
          </ac:spMkLst>
        </pc:spChg>
        <pc:spChg chg="add del mod modVis">
          <ac:chgData name="Warren Heaps" userId="b5f776f4-d2aa-4752-837a-86796e4c6c94" providerId="ADAL" clId="{775E38DF-7547-4EB7-819D-F21CF3EEFCB6}" dt="2025-10-08T15:00:02.598" v="101928"/>
          <ac:spMkLst>
            <pc:docMk/>
            <pc:sldMk cId="295721127" sldId="336"/>
            <ac:spMk id="5" creationId="{00499579-AA18-6D6F-A5FD-27614705B477}"/>
          </ac:spMkLst>
        </pc:spChg>
        <pc:spChg chg="add mod">
          <ac:chgData name="Warren Heaps" userId="b5f776f4-d2aa-4752-837a-86796e4c6c94" providerId="ADAL" clId="{775E38DF-7547-4EB7-819D-F21CF3EEFCB6}" dt="2025-10-08T15:18:19.338" v="104132"/>
          <ac:spMkLst>
            <pc:docMk/>
            <pc:sldMk cId="295721127" sldId="336"/>
            <ac:spMk id="6" creationId="{885371E8-7632-3C4A-ADA5-1A7187B6BE78}"/>
          </ac:spMkLst>
        </pc:spChg>
        <pc:spChg chg="add del mod modVis">
          <ac:chgData name="Warren Heaps" userId="b5f776f4-d2aa-4752-837a-86796e4c6c94" providerId="ADAL" clId="{775E38DF-7547-4EB7-819D-F21CF3EEFCB6}" dt="2025-10-08T15:03:40.695" v="102012"/>
          <ac:spMkLst>
            <pc:docMk/>
            <pc:sldMk cId="295721127" sldId="336"/>
            <ac:spMk id="7" creationId="{4170740F-2BB6-942A-E20D-FFD7BEEE3CBC}"/>
          </ac:spMkLst>
        </pc:spChg>
        <pc:spChg chg="add del mod modVis">
          <ac:chgData name="Warren Heaps" userId="b5f776f4-d2aa-4752-837a-86796e4c6c94" providerId="ADAL" clId="{775E38DF-7547-4EB7-819D-F21CF3EEFCB6}" dt="2025-10-08T15:03:50.659" v="102045"/>
          <ac:spMkLst>
            <pc:docMk/>
            <pc:sldMk cId="295721127" sldId="336"/>
            <ac:spMk id="8" creationId="{355DA8B5-60AE-8A1B-EA4F-ED29D7651439}"/>
          </ac:spMkLst>
        </pc:spChg>
        <pc:spChg chg="add del mod modVis">
          <ac:chgData name="Warren Heaps" userId="b5f776f4-d2aa-4752-837a-86796e4c6c94" providerId="ADAL" clId="{775E38DF-7547-4EB7-819D-F21CF3EEFCB6}" dt="2025-10-08T15:04:05.495" v="102091"/>
          <ac:spMkLst>
            <pc:docMk/>
            <pc:sldMk cId="295721127" sldId="336"/>
            <ac:spMk id="9" creationId="{18EC5D8A-DFCA-1198-E1CB-4C307114A9C7}"/>
          </ac:spMkLst>
        </pc:spChg>
        <pc:spChg chg="add del mod modVis">
          <ac:chgData name="Warren Heaps" userId="b5f776f4-d2aa-4752-837a-86796e4c6c94" providerId="ADAL" clId="{775E38DF-7547-4EB7-819D-F21CF3EEFCB6}" dt="2025-10-08T15:04:09.408" v="102126"/>
          <ac:spMkLst>
            <pc:docMk/>
            <pc:sldMk cId="295721127" sldId="336"/>
            <ac:spMk id="10" creationId="{3E8F62D8-644E-5E62-247E-C7890B253D32}"/>
          </ac:spMkLst>
        </pc:spChg>
        <pc:spChg chg="add del mod modVis">
          <ac:chgData name="Warren Heaps" userId="b5f776f4-d2aa-4752-837a-86796e4c6c94" providerId="ADAL" clId="{775E38DF-7547-4EB7-819D-F21CF3EEFCB6}" dt="2025-10-08T15:04:14.053" v="102152"/>
          <ac:spMkLst>
            <pc:docMk/>
            <pc:sldMk cId="295721127" sldId="336"/>
            <ac:spMk id="11" creationId="{893BDD7D-9B1A-CC7E-8ADC-8A9A3B6C554C}"/>
          </ac:spMkLst>
        </pc:spChg>
        <pc:spChg chg="add del mod modVis">
          <ac:chgData name="Warren Heaps" userId="b5f776f4-d2aa-4752-837a-86796e4c6c94" providerId="ADAL" clId="{775E38DF-7547-4EB7-819D-F21CF3EEFCB6}" dt="2025-10-08T15:04:20.991" v="102178"/>
          <ac:spMkLst>
            <pc:docMk/>
            <pc:sldMk cId="295721127" sldId="336"/>
            <ac:spMk id="12" creationId="{08B266A1-3024-7A79-B3C7-F103A16DDB87}"/>
          </ac:spMkLst>
        </pc:spChg>
        <pc:spChg chg="add del mod modVis">
          <ac:chgData name="Warren Heaps" userId="b5f776f4-d2aa-4752-837a-86796e4c6c94" providerId="ADAL" clId="{775E38DF-7547-4EB7-819D-F21CF3EEFCB6}" dt="2025-10-08T15:04:23.614" v="102204"/>
          <ac:spMkLst>
            <pc:docMk/>
            <pc:sldMk cId="295721127" sldId="336"/>
            <ac:spMk id="13" creationId="{3D147FDD-9468-620E-4AC1-53AC16898FDF}"/>
          </ac:spMkLst>
        </pc:spChg>
        <pc:spChg chg="add del mod modVis">
          <ac:chgData name="Warren Heaps" userId="b5f776f4-d2aa-4752-837a-86796e4c6c94" providerId="ADAL" clId="{775E38DF-7547-4EB7-819D-F21CF3EEFCB6}" dt="2025-10-08T15:04:32.584" v="102230"/>
          <ac:spMkLst>
            <pc:docMk/>
            <pc:sldMk cId="295721127" sldId="336"/>
            <ac:spMk id="14" creationId="{F6AA1DDE-7BF3-92F0-55BC-281B729446B5}"/>
          </ac:spMkLst>
        </pc:spChg>
        <pc:spChg chg="add del mod modVis">
          <ac:chgData name="Warren Heaps" userId="b5f776f4-d2aa-4752-837a-86796e4c6c94" providerId="ADAL" clId="{775E38DF-7547-4EB7-819D-F21CF3EEFCB6}" dt="2025-10-08T15:04:35.018" v="102257"/>
          <ac:spMkLst>
            <pc:docMk/>
            <pc:sldMk cId="295721127" sldId="336"/>
            <ac:spMk id="15" creationId="{1FD0B985-849C-7CCD-C136-48FD96D6D345}"/>
          </ac:spMkLst>
        </pc:spChg>
        <pc:spChg chg="add del mod modVis">
          <ac:chgData name="Warren Heaps" userId="b5f776f4-d2aa-4752-837a-86796e4c6c94" providerId="ADAL" clId="{775E38DF-7547-4EB7-819D-F21CF3EEFCB6}" dt="2025-10-08T15:04:37.656" v="102283"/>
          <ac:spMkLst>
            <pc:docMk/>
            <pc:sldMk cId="295721127" sldId="336"/>
            <ac:spMk id="16" creationId="{D72840F2-2DBA-D1FB-F311-BB94711AF09F}"/>
          </ac:spMkLst>
        </pc:spChg>
        <pc:spChg chg="add del mod modVis">
          <ac:chgData name="Warren Heaps" userId="b5f776f4-d2aa-4752-837a-86796e4c6c94" providerId="ADAL" clId="{775E38DF-7547-4EB7-819D-F21CF3EEFCB6}" dt="2025-10-08T15:04:42.826" v="102309"/>
          <ac:spMkLst>
            <pc:docMk/>
            <pc:sldMk cId="295721127" sldId="336"/>
            <ac:spMk id="17" creationId="{B5AE2EA9-6025-613D-BB5D-92F83EEBF289}"/>
          </ac:spMkLst>
        </pc:spChg>
        <pc:spChg chg="add del mod modVis">
          <ac:chgData name="Warren Heaps" userId="b5f776f4-d2aa-4752-837a-86796e4c6c94" providerId="ADAL" clId="{775E38DF-7547-4EB7-819D-F21CF3EEFCB6}" dt="2025-10-08T15:04:43.788" v="102338"/>
          <ac:spMkLst>
            <pc:docMk/>
            <pc:sldMk cId="295721127" sldId="336"/>
            <ac:spMk id="18" creationId="{089D94B6-35D7-DF45-1CD6-5015F937500F}"/>
          </ac:spMkLst>
        </pc:spChg>
        <pc:spChg chg="add del mod modVis">
          <ac:chgData name="Warren Heaps" userId="b5f776f4-d2aa-4752-837a-86796e4c6c94" providerId="ADAL" clId="{775E38DF-7547-4EB7-819D-F21CF3EEFCB6}" dt="2025-10-08T15:04:45.682" v="102369"/>
          <ac:spMkLst>
            <pc:docMk/>
            <pc:sldMk cId="295721127" sldId="336"/>
            <ac:spMk id="19" creationId="{23340E96-023D-64F4-ACAF-E192C8BC006F}"/>
          </ac:spMkLst>
        </pc:spChg>
        <pc:spChg chg="add del mod modVis">
          <ac:chgData name="Warren Heaps" userId="b5f776f4-d2aa-4752-837a-86796e4c6c94" providerId="ADAL" clId="{775E38DF-7547-4EB7-819D-F21CF3EEFCB6}" dt="2025-10-08T15:04:48.063" v="102402"/>
          <ac:spMkLst>
            <pc:docMk/>
            <pc:sldMk cId="295721127" sldId="336"/>
            <ac:spMk id="20" creationId="{386E2AEF-8167-E028-F06B-AF616CA73FAD}"/>
          </ac:spMkLst>
        </pc:spChg>
        <pc:spChg chg="add del mod modVis">
          <ac:chgData name="Warren Heaps" userId="b5f776f4-d2aa-4752-837a-86796e4c6c94" providerId="ADAL" clId="{775E38DF-7547-4EB7-819D-F21CF3EEFCB6}" dt="2025-10-08T15:04:57.139" v="102435"/>
          <ac:spMkLst>
            <pc:docMk/>
            <pc:sldMk cId="295721127" sldId="336"/>
            <ac:spMk id="21" creationId="{45A7DE24-5C75-92D1-4BC6-E4007681D6A1}"/>
          </ac:spMkLst>
        </pc:spChg>
        <pc:spChg chg="add del mod modVis">
          <ac:chgData name="Warren Heaps" userId="b5f776f4-d2aa-4752-837a-86796e4c6c94" providerId="ADAL" clId="{775E38DF-7547-4EB7-819D-F21CF3EEFCB6}" dt="2025-10-08T15:05:02.705" v="102469"/>
          <ac:spMkLst>
            <pc:docMk/>
            <pc:sldMk cId="295721127" sldId="336"/>
            <ac:spMk id="22" creationId="{7D547DC9-4CD0-783D-667D-E2CA399322E1}"/>
          </ac:spMkLst>
        </pc:spChg>
        <pc:spChg chg="add del mod modVis">
          <ac:chgData name="Warren Heaps" userId="b5f776f4-d2aa-4752-837a-86796e4c6c94" providerId="ADAL" clId="{775E38DF-7547-4EB7-819D-F21CF3EEFCB6}" dt="2025-10-08T15:05:05.159" v="102510"/>
          <ac:spMkLst>
            <pc:docMk/>
            <pc:sldMk cId="295721127" sldId="336"/>
            <ac:spMk id="23" creationId="{D1ED1D8E-5682-7DE0-06A8-4EEAA91061D0}"/>
          </ac:spMkLst>
        </pc:spChg>
        <pc:spChg chg="add del mod modVis">
          <ac:chgData name="Warren Heaps" userId="b5f776f4-d2aa-4752-837a-86796e4c6c94" providerId="ADAL" clId="{775E38DF-7547-4EB7-819D-F21CF3EEFCB6}" dt="2025-10-08T15:05:06.722" v="102546"/>
          <ac:spMkLst>
            <pc:docMk/>
            <pc:sldMk cId="295721127" sldId="336"/>
            <ac:spMk id="24" creationId="{627E6A5C-FFFD-E728-A57D-30AD7F4503D3}"/>
          </ac:spMkLst>
        </pc:spChg>
        <pc:spChg chg="add del mod modVis">
          <ac:chgData name="Warren Heaps" userId="b5f776f4-d2aa-4752-837a-86796e4c6c94" providerId="ADAL" clId="{775E38DF-7547-4EB7-819D-F21CF3EEFCB6}" dt="2025-10-08T15:05:07.545" v="102579"/>
          <ac:spMkLst>
            <pc:docMk/>
            <pc:sldMk cId="295721127" sldId="336"/>
            <ac:spMk id="25" creationId="{421899FD-252E-F1A0-B714-76F7F7A2BEB2}"/>
          </ac:spMkLst>
        </pc:spChg>
        <pc:spChg chg="add del mod modVis">
          <ac:chgData name="Warren Heaps" userId="b5f776f4-d2aa-4752-837a-86796e4c6c94" providerId="ADAL" clId="{775E38DF-7547-4EB7-819D-F21CF3EEFCB6}" dt="2025-10-08T15:05:09.484" v="102616"/>
          <ac:spMkLst>
            <pc:docMk/>
            <pc:sldMk cId="295721127" sldId="336"/>
            <ac:spMk id="26" creationId="{E84E2808-B882-B0BA-07EC-076FABEF105A}"/>
          </ac:spMkLst>
        </pc:spChg>
        <pc:spChg chg="add del mod modVis">
          <ac:chgData name="Warren Heaps" userId="b5f776f4-d2aa-4752-837a-86796e4c6c94" providerId="ADAL" clId="{775E38DF-7547-4EB7-819D-F21CF3EEFCB6}" dt="2025-10-08T15:05:51.357" v="102649"/>
          <ac:spMkLst>
            <pc:docMk/>
            <pc:sldMk cId="295721127" sldId="336"/>
            <ac:spMk id="27" creationId="{A1BDD420-BC8E-9C3A-3B03-A367C98F204A}"/>
          </ac:spMkLst>
        </pc:spChg>
        <pc:spChg chg="add del mod modVis">
          <ac:chgData name="Warren Heaps" userId="b5f776f4-d2aa-4752-837a-86796e4c6c94" providerId="ADAL" clId="{775E38DF-7547-4EB7-819D-F21CF3EEFCB6}" dt="2025-10-08T15:05:52.206" v="102683"/>
          <ac:spMkLst>
            <pc:docMk/>
            <pc:sldMk cId="295721127" sldId="336"/>
            <ac:spMk id="28" creationId="{5AE8DED7-5D37-3289-AC81-61BC48187417}"/>
          </ac:spMkLst>
        </pc:spChg>
        <pc:spChg chg="add del mod modVis">
          <ac:chgData name="Warren Heaps" userId="b5f776f4-d2aa-4752-837a-86796e4c6c94" providerId="ADAL" clId="{775E38DF-7547-4EB7-819D-F21CF3EEFCB6}" dt="2025-10-08T15:05:57.741" v="102716"/>
          <ac:spMkLst>
            <pc:docMk/>
            <pc:sldMk cId="295721127" sldId="336"/>
            <ac:spMk id="29" creationId="{FB7BC217-C39E-F8B3-4313-D38720B01253}"/>
          </ac:spMkLst>
        </pc:spChg>
        <pc:spChg chg="add del mod modVis">
          <ac:chgData name="Warren Heaps" userId="b5f776f4-d2aa-4752-837a-86796e4c6c94" providerId="ADAL" clId="{775E38DF-7547-4EB7-819D-F21CF3EEFCB6}" dt="2025-10-08T15:05:58.813" v="102749"/>
          <ac:spMkLst>
            <pc:docMk/>
            <pc:sldMk cId="295721127" sldId="336"/>
            <ac:spMk id="30" creationId="{6CB1F298-C3F1-0145-5333-C0E724366C21}"/>
          </ac:spMkLst>
        </pc:spChg>
        <pc:spChg chg="add del mod modVis">
          <ac:chgData name="Warren Heaps" userId="b5f776f4-d2aa-4752-837a-86796e4c6c94" providerId="ADAL" clId="{775E38DF-7547-4EB7-819D-F21CF3EEFCB6}" dt="2025-10-08T15:06:10.926" v="102784"/>
          <ac:spMkLst>
            <pc:docMk/>
            <pc:sldMk cId="295721127" sldId="336"/>
            <ac:spMk id="31" creationId="{65C06548-3B16-9F3B-2506-FFE1EC82A919}"/>
          </ac:spMkLst>
        </pc:spChg>
        <pc:spChg chg="add del mod modVis">
          <ac:chgData name="Warren Heaps" userId="b5f776f4-d2aa-4752-837a-86796e4c6c94" providerId="ADAL" clId="{775E38DF-7547-4EB7-819D-F21CF3EEFCB6}" dt="2025-10-08T15:06:11.768" v="102818"/>
          <ac:spMkLst>
            <pc:docMk/>
            <pc:sldMk cId="295721127" sldId="336"/>
            <ac:spMk id="32" creationId="{B8A6B514-53C0-8A5B-D0E2-1B63F1255583}"/>
          </ac:spMkLst>
        </pc:spChg>
        <pc:spChg chg="add del mod modVis">
          <ac:chgData name="Warren Heaps" userId="b5f776f4-d2aa-4752-837a-86796e4c6c94" providerId="ADAL" clId="{775E38DF-7547-4EB7-819D-F21CF3EEFCB6}" dt="2025-10-08T15:06:19.088" v="102861"/>
          <ac:spMkLst>
            <pc:docMk/>
            <pc:sldMk cId="295721127" sldId="336"/>
            <ac:spMk id="33" creationId="{7038CD61-881E-6519-0519-CDD7E7FD015D}"/>
          </ac:spMkLst>
        </pc:spChg>
        <pc:spChg chg="add del mod modVis">
          <ac:chgData name="Warren Heaps" userId="b5f776f4-d2aa-4752-837a-86796e4c6c94" providerId="ADAL" clId="{775E38DF-7547-4EB7-819D-F21CF3EEFCB6}" dt="2025-10-08T15:06:58.629" v="102910"/>
          <ac:spMkLst>
            <pc:docMk/>
            <pc:sldMk cId="295721127" sldId="336"/>
            <ac:spMk id="34" creationId="{B011DE8D-C3B7-C08B-E623-733F33983088}"/>
          </ac:spMkLst>
        </pc:spChg>
        <pc:spChg chg="add del mod modVis">
          <ac:chgData name="Warren Heaps" userId="b5f776f4-d2aa-4752-837a-86796e4c6c94" providerId="ADAL" clId="{775E38DF-7547-4EB7-819D-F21CF3EEFCB6}" dt="2025-10-08T15:07:02.759" v="102944"/>
          <ac:spMkLst>
            <pc:docMk/>
            <pc:sldMk cId="295721127" sldId="336"/>
            <ac:spMk id="35" creationId="{F8DB99A5-FB1B-4A5D-BC21-87181E89348F}"/>
          </ac:spMkLst>
        </pc:spChg>
        <pc:spChg chg="add del mod modVis">
          <ac:chgData name="Warren Heaps" userId="b5f776f4-d2aa-4752-837a-86796e4c6c94" providerId="ADAL" clId="{775E38DF-7547-4EB7-819D-F21CF3EEFCB6}" dt="2025-10-08T15:07:04.851" v="102978"/>
          <ac:spMkLst>
            <pc:docMk/>
            <pc:sldMk cId="295721127" sldId="336"/>
            <ac:spMk id="36" creationId="{EFC60FE4-DE0B-A74F-EBCD-0E2C86CFCED5}"/>
          </ac:spMkLst>
        </pc:spChg>
        <pc:spChg chg="add del mod modVis">
          <ac:chgData name="Warren Heaps" userId="b5f776f4-d2aa-4752-837a-86796e4c6c94" providerId="ADAL" clId="{775E38DF-7547-4EB7-819D-F21CF3EEFCB6}" dt="2025-10-08T15:07:05.770" v="103012"/>
          <ac:spMkLst>
            <pc:docMk/>
            <pc:sldMk cId="295721127" sldId="336"/>
            <ac:spMk id="37" creationId="{048948E3-CF18-4A45-2D0B-37F8432AF8DF}"/>
          </ac:spMkLst>
        </pc:spChg>
        <pc:spChg chg="add del mod modVis">
          <ac:chgData name="Warren Heaps" userId="b5f776f4-d2aa-4752-837a-86796e4c6c94" providerId="ADAL" clId="{775E38DF-7547-4EB7-819D-F21CF3EEFCB6}" dt="2025-10-08T15:07:10.122" v="103063"/>
          <ac:spMkLst>
            <pc:docMk/>
            <pc:sldMk cId="295721127" sldId="336"/>
            <ac:spMk id="38" creationId="{60546685-68F2-C55B-C193-56C198049D58}"/>
          </ac:spMkLst>
        </pc:spChg>
        <pc:spChg chg="add del mod modVis">
          <ac:chgData name="Warren Heaps" userId="b5f776f4-d2aa-4752-837a-86796e4c6c94" providerId="ADAL" clId="{775E38DF-7547-4EB7-819D-F21CF3EEFCB6}" dt="2025-10-08T15:07:18.758" v="103097"/>
          <ac:spMkLst>
            <pc:docMk/>
            <pc:sldMk cId="295721127" sldId="336"/>
            <ac:spMk id="39" creationId="{B84BFE0A-807D-407A-CE82-42EB72F75AA7}"/>
          </ac:spMkLst>
        </pc:spChg>
        <pc:spChg chg="add del mod modVis">
          <ac:chgData name="Warren Heaps" userId="b5f776f4-d2aa-4752-837a-86796e4c6c94" providerId="ADAL" clId="{775E38DF-7547-4EB7-819D-F21CF3EEFCB6}" dt="2025-10-08T15:07:19.592" v="103131"/>
          <ac:spMkLst>
            <pc:docMk/>
            <pc:sldMk cId="295721127" sldId="336"/>
            <ac:spMk id="40" creationId="{7C72088C-17F5-07A0-1C66-9BC9BD2FF14E}"/>
          </ac:spMkLst>
        </pc:spChg>
        <pc:spChg chg="add del mod modVis">
          <ac:chgData name="Warren Heaps" userId="b5f776f4-d2aa-4752-837a-86796e4c6c94" providerId="ADAL" clId="{775E38DF-7547-4EB7-819D-F21CF3EEFCB6}" dt="2025-10-08T15:07:28.254" v="103164"/>
          <ac:spMkLst>
            <pc:docMk/>
            <pc:sldMk cId="295721127" sldId="336"/>
            <ac:spMk id="41" creationId="{C42A8288-66FE-C363-9391-2C13BD8ACB74}"/>
          </ac:spMkLst>
        </pc:spChg>
        <pc:spChg chg="add del mod modVis">
          <ac:chgData name="Warren Heaps" userId="b5f776f4-d2aa-4752-837a-86796e4c6c94" providerId="ADAL" clId="{775E38DF-7547-4EB7-819D-F21CF3EEFCB6}" dt="2025-10-08T15:07:34.438" v="103201"/>
          <ac:spMkLst>
            <pc:docMk/>
            <pc:sldMk cId="295721127" sldId="336"/>
            <ac:spMk id="42" creationId="{074E0611-40F7-4DDE-E5A1-9392D93029AE}"/>
          </ac:spMkLst>
        </pc:spChg>
        <pc:spChg chg="add del mod modVis">
          <ac:chgData name="Warren Heaps" userId="b5f776f4-d2aa-4752-837a-86796e4c6c94" providerId="ADAL" clId="{775E38DF-7547-4EB7-819D-F21CF3EEFCB6}" dt="2025-10-08T15:07:35.165" v="103234"/>
          <ac:spMkLst>
            <pc:docMk/>
            <pc:sldMk cId="295721127" sldId="336"/>
            <ac:spMk id="43" creationId="{9013DF2D-5C99-260F-0790-CD9154BDD96A}"/>
          </ac:spMkLst>
        </pc:spChg>
        <pc:spChg chg="add del mod modVis">
          <ac:chgData name="Warren Heaps" userId="b5f776f4-d2aa-4752-837a-86796e4c6c94" providerId="ADAL" clId="{775E38DF-7547-4EB7-819D-F21CF3EEFCB6}" dt="2025-10-08T15:07:36.315" v="103268"/>
          <ac:spMkLst>
            <pc:docMk/>
            <pc:sldMk cId="295721127" sldId="336"/>
            <ac:spMk id="44" creationId="{4657F2E9-3DD0-3E24-8638-3C69D946BBC5}"/>
          </ac:spMkLst>
        </pc:spChg>
        <pc:spChg chg="add del mod modVis">
          <ac:chgData name="Warren Heaps" userId="b5f776f4-d2aa-4752-837a-86796e4c6c94" providerId="ADAL" clId="{775E38DF-7547-4EB7-819D-F21CF3EEFCB6}" dt="2025-10-08T15:15:06.179" v="103301"/>
          <ac:spMkLst>
            <pc:docMk/>
            <pc:sldMk cId="295721127" sldId="336"/>
            <ac:spMk id="45" creationId="{E2CACC3E-61D8-5F96-17F3-5232C08033EA}"/>
          </ac:spMkLst>
        </pc:spChg>
        <pc:spChg chg="add del mod modVis">
          <ac:chgData name="Warren Heaps" userId="b5f776f4-d2aa-4752-837a-86796e4c6c94" providerId="ADAL" clId="{775E38DF-7547-4EB7-819D-F21CF3EEFCB6}" dt="2025-10-08T15:15:43.806" v="103333"/>
          <ac:spMkLst>
            <pc:docMk/>
            <pc:sldMk cId="295721127" sldId="336"/>
            <ac:spMk id="46" creationId="{97AC427C-4BA0-27B8-A12E-C30FF41ED879}"/>
          </ac:spMkLst>
        </pc:spChg>
        <pc:spChg chg="add del mod modVis">
          <ac:chgData name="Warren Heaps" userId="b5f776f4-d2aa-4752-837a-86796e4c6c94" providerId="ADAL" clId="{775E38DF-7547-4EB7-819D-F21CF3EEFCB6}" dt="2025-10-08T15:15:58.789" v="103367"/>
          <ac:spMkLst>
            <pc:docMk/>
            <pc:sldMk cId="295721127" sldId="336"/>
            <ac:spMk id="47" creationId="{432DD422-6613-021A-4FA8-42244C3C3231}"/>
          </ac:spMkLst>
        </pc:spChg>
        <pc:spChg chg="add del mod modVis">
          <ac:chgData name="Warren Heaps" userId="b5f776f4-d2aa-4752-837a-86796e4c6c94" providerId="ADAL" clId="{775E38DF-7547-4EB7-819D-F21CF3EEFCB6}" dt="2025-10-08T15:16:02.033" v="103401"/>
          <ac:spMkLst>
            <pc:docMk/>
            <pc:sldMk cId="295721127" sldId="336"/>
            <ac:spMk id="48" creationId="{249F7BBD-6185-6DBA-0C4C-D9B473A2DFAC}"/>
          </ac:spMkLst>
        </pc:spChg>
        <pc:spChg chg="add del mod modVis">
          <ac:chgData name="Warren Heaps" userId="b5f776f4-d2aa-4752-837a-86796e4c6c94" providerId="ADAL" clId="{775E38DF-7547-4EB7-819D-F21CF3EEFCB6}" dt="2025-10-08T15:16:03.275" v="103434"/>
          <ac:spMkLst>
            <pc:docMk/>
            <pc:sldMk cId="295721127" sldId="336"/>
            <ac:spMk id="49" creationId="{1CCDFC39-F5F7-D109-B4BE-9F9FFF59101F}"/>
          </ac:spMkLst>
        </pc:spChg>
        <pc:spChg chg="add del mod modVis">
          <ac:chgData name="Warren Heaps" userId="b5f776f4-d2aa-4752-837a-86796e4c6c94" providerId="ADAL" clId="{775E38DF-7547-4EB7-819D-F21CF3EEFCB6}" dt="2025-10-08T15:16:10.373" v="103485"/>
          <ac:spMkLst>
            <pc:docMk/>
            <pc:sldMk cId="295721127" sldId="336"/>
            <ac:spMk id="50" creationId="{3F2F2B8B-8EF1-CD96-44FA-7784D2607E33}"/>
          </ac:spMkLst>
        </pc:spChg>
        <pc:spChg chg="add del mod modVis">
          <ac:chgData name="Warren Heaps" userId="b5f776f4-d2aa-4752-837a-86796e4c6c94" providerId="ADAL" clId="{775E38DF-7547-4EB7-819D-F21CF3EEFCB6}" dt="2025-10-08T15:16:23.833" v="103531"/>
          <ac:spMkLst>
            <pc:docMk/>
            <pc:sldMk cId="295721127" sldId="336"/>
            <ac:spMk id="51" creationId="{67D8347B-7A67-7AC1-751A-5C0E5151533B}"/>
          </ac:spMkLst>
        </pc:spChg>
        <pc:spChg chg="add del mod modVis">
          <ac:chgData name="Warren Heaps" userId="b5f776f4-d2aa-4752-837a-86796e4c6c94" providerId="ADAL" clId="{775E38DF-7547-4EB7-819D-F21CF3EEFCB6}" dt="2025-10-08T15:16:25.101" v="103571"/>
          <ac:spMkLst>
            <pc:docMk/>
            <pc:sldMk cId="295721127" sldId="336"/>
            <ac:spMk id="52" creationId="{891FA7BD-832C-1547-A94D-2F03745DF5D5}"/>
          </ac:spMkLst>
        </pc:spChg>
        <pc:spChg chg="add del mod modVis">
          <ac:chgData name="Warren Heaps" userId="b5f776f4-d2aa-4752-837a-86796e4c6c94" providerId="ADAL" clId="{775E38DF-7547-4EB7-819D-F21CF3EEFCB6}" dt="2025-10-08T15:16:26.918" v="103619"/>
          <ac:spMkLst>
            <pc:docMk/>
            <pc:sldMk cId="295721127" sldId="336"/>
            <ac:spMk id="53" creationId="{D1CACF60-FFE3-F406-1876-A4E95A22A977}"/>
          </ac:spMkLst>
        </pc:spChg>
        <pc:spChg chg="add del mod modVis">
          <ac:chgData name="Warren Heaps" userId="b5f776f4-d2aa-4752-837a-86796e4c6c94" providerId="ADAL" clId="{775E38DF-7547-4EB7-819D-F21CF3EEFCB6}" dt="2025-10-08T15:16:27.907" v="103669"/>
          <ac:spMkLst>
            <pc:docMk/>
            <pc:sldMk cId="295721127" sldId="336"/>
            <ac:spMk id="54" creationId="{3A203073-324E-F707-A668-DADB785DC963}"/>
          </ac:spMkLst>
        </pc:spChg>
        <pc:spChg chg="add del mod modVis">
          <ac:chgData name="Warren Heaps" userId="b5f776f4-d2aa-4752-837a-86796e4c6c94" providerId="ADAL" clId="{775E38DF-7547-4EB7-819D-F21CF3EEFCB6}" dt="2025-10-08T15:16:31.498" v="103732"/>
          <ac:spMkLst>
            <pc:docMk/>
            <pc:sldMk cId="295721127" sldId="336"/>
            <ac:spMk id="55" creationId="{424464E2-EB17-1A35-D882-6430969E360B}"/>
          </ac:spMkLst>
        </pc:spChg>
        <pc:spChg chg="add del mod modVis">
          <ac:chgData name="Warren Heaps" userId="b5f776f4-d2aa-4752-837a-86796e4c6c94" providerId="ADAL" clId="{775E38DF-7547-4EB7-819D-F21CF3EEFCB6}" dt="2025-10-08T15:17:28.233" v="103780"/>
          <ac:spMkLst>
            <pc:docMk/>
            <pc:sldMk cId="295721127" sldId="336"/>
            <ac:spMk id="56" creationId="{59B0CFB3-A8F1-951E-D150-3D79552A3062}"/>
          </ac:spMkLst>
        </pc:spChg>
        <pc:spChg chg="add del mod modVis">
          <ac:chgData name="Warren Heaps" userId="b5f776f4-d2aa-4752-837a-86796e4c6c94" providerId="ADAL" clId="{775E38DF-7547-4EB7-819D-F21CF3EEFCB6}" dt="2025-10-08T15:17:29.240" v="103827"/>
          <ac:spMkLst>
            <pc:docMk/>
            <pc:sldMk cId="295721127" sldId="336"/>
            <ac:spMk id="57" creationId="{94FE69F7-DCA1-38E9-5B0E-200D44DA3CE6}"/>
          </ac:spMkLst>
        </pc:spChg>
        <pc:spChg chg="add del mod modVis">
          <ac:chgData name="Warren Heaps" userId="b5f776f4-d2aa-4752-837a-86796e4c6c94" providerId="ADAL" clId="{775E38DF-7547-4EB7-819D-F21CF3EEFCB6}" dt="2025-10-08T15:17:30.980" v="103875"/>
          <ac:spMkLst>
            <pc:docMk/>
            <pc:sldMk cId="295721127" sldId="336"/>
            <ac:spMk id="58" creationId="{451D0083-6C26-B270-C42F-CCAED2E172E7}"/>
          </ac:spMkLst>
        </pc:spChg>
        <pc:spChg chg="add del mod modVis">
          <ac:chgData name="Warren Heaps" userId="b5f776f4-d2aa-4752-837a-86796e4c6c94" providerId="ADAL" clId="{775E38DF-7547-4EB7-819D-F21CF3EEFCB6}" dt="2025-10-08T15:17:45.283" v="103922"/>
          <ac:spMkLst>
            <pc:docMk/>
            <pc:sldMk cId="295721127" sldId="336"/>
            <ac:spMk id="59" creationId="{33D5756B-FED9-216F-ADFC-4C8C2AE4441D}"/>
          </ac:spMkLst>
        </pc:spChg>
        <pc:spChg chg="add del mod modVis">
          <ac:chgData name="Warren Heaps" userId="b5f776f4-d2aa-4752-837a-86796e4c6c94" providerId="ADAL" clId="{775E38DF-7547-4EB7-819D-F21CF3EEFCB6}" dt="2025-10-08T15:17:47.473" v="103974"/>
          <ac:spMkLst>
            <pc:docMk/>
            <pc:sldMk cId="295721127" sldId="336"/>
            <ac:spMk id="60" creationId="{E32634A4-4ADC-702E-8430-E38DE3EDBF84}"/>
          </ac:spMkLst>
        </pc:spChg>
        <pc:spChg chg="add del mod modVis">
          <ac:chgData name="Warren Heaps" userId="b5f776f4-d2aa-4752-837a-86796e4c6c94" providerId="ADAL" clId="{775E38DF-7547-4EB7-819D-F21CF3EEFCB6}" dt="2025-10-08T15:17:49.751" v="104034"/>
          <ac:spMkLst>
            <pc:docMk/>
            <pc:sldMk cId="295721127" sldId="336"/>
            <ac:spMk id="61" creationId="{89BB615A-13B9-4E5B-8526-3D91438F0B69}"/>
          </ac:spMkLst>
        </pc:spChg>
        <pc:spChg chg="add del mod modVis">
          <ac:chgData name="Warren Heaps" userId="b5f776f4-d2aa-4752-837a-86796e4c6c94" providerId="ADAL" clId="{775E38DF-7547-4EB7-819D-F21CF3EEFCB6}" dt="2025-10-08T15:18:08.657" v="104081"/>
          <ac:spMkLst>
            <pc:docMk/>
            <pc:sldMk cId="295721127" sldId="336"/>
            <ac:spMk id="62" creationId="{6B8AF555-A912-806F-DCAF-3F5F9DA01A71}"/>
          </ac:spMkLst>
        </pc:spChg>
        <pc:spChg chg="add del mod modVis">
          <ac:chgData name="Warren Heaps" userId="b5f776f4-d2aa-4752-837a-86796e4c6c94" providerId="ADAL" clId="{775E38DF-7547-4EB7-819D-F21CF3EEFCB6}" dt="2025-10-08T15:18:09.618" v="104128"/>
          <ac:spMkLst>
            <pc:docMk/>
            <pc:sldMk cId="295721127" sldId="336"/>
            <ac:spMk id="63" creationId="{D058828A-E8DA-C225-E9C0-D357A82FC1BB}"/>
          </ac:spMkLst>
        </pc:spChg>
        <pc:spChg chg="add del mod modVis">
          <ac:chgData name="Warren Heaps" userId="b5f776f4-d2aa-4752-837a-86796e4c6c94" providerId="ADAL" clId="{775E38DF-7547-4EB7-819D-F21CF3EEFCB6}" dt="2025-10-08T15:18:19.728" v="104175"/>
          <ac:spMkLst>
            <pc:docMk/>
            <pc:sldMk cId="295721127" sldId="336"/>
            <ac:spMk id="64" creationId="{39C412E1-A5F9-3118-C955-F4FC7FC69DAD}"/>
          </ac:spMkLst>
        </pc:spChg>
        <pc:graphicFrameChg chg="add mod ord modVis">
          <ac:chgData name="Warren Heaps" userId="b5f776f4-d2aa-4752-837a-86796e4c6c94" providerId="ADAL" clId="{775E38DF-7547-4EB7-819D-F21CF3EEFCB6}" dt="2025-10-08T15:18:19.759" v="104177"/>
          <ac:graphicFrameMkLst>
            <pc:docMk/>
            <pc:sldMk cId="295721127" sldId="336"/>
            <ac:graphicFrameMk id="4" creationId="{07F92A9C-0F97-4857-796F-DD59F5C73CC4}"/>
          </ac:graphicFrameMkLst>
        </pc:graphicFrameChg>
      </pc:sldChg>
      <pc:sldChg chg="add del">
        <pc:chgData name="Warren Heaps" userId="b5f776f4-d2aa-4752-837a-86796e4c6c94" providerId="ADAL" clId="{775E38DF-7547-4EB7-819D-F21CF3EEFCB6}" dt="2025-10-08T14:59:43.732" v="101849" actId="47"/>
        <pc:sldMkLst>
          <pc:docMk/>
          <pc:sldMk cId="3352418442" sldId="336"/>
        </pc:sldMkLst>
      </pc:sldChg>
      <pc:sldChg chg="addSp delSp modSp add mod">
        <pc:chgData name="Warren Heaps" userId="b5f776f4-d2aa-4752-837a-86796e4c6c94" providerId="ADAL" clId="{775E38DF-7547-4EB7-819D-F21CF3EEFCB6}" dt="2025-10-08T15:24:33.492" v="104986"/>
        <pc:sldMkLst>
          <pc:docMk/>
          <pc:sldMk cId="996002352" sldId="337"/>
        </pc:sldMkLst>
        <pc:spChg chg="add del mod modVis">
          <ac:chgData name="Warren Heaps" userId="b5f776f4-d2aa-4752-837a-86796e4c6c94" providerId="ADAL" clId="{775E38DF-7547-4EB7-819D-F21CF3EEFCB6}" dt="2025-10-08T15:24:30.102" v="104885"/>
          <ac:spMkLst>
            <pc:docMk/>
            <pc:sldMk cId="996002352" sldId="337"/>
            <ac:spMk id="2" creationId="{8DF40118-5016-FA04-433F-65CD8AE1D382}"/>
          </ac:spMkLst>
        </pc:spChg>
        <pc:spChg chg="mod">
          <ac:chgData name="Warren Heaps" userId="b5f776f4-d2aa-4752-837a-86796e4c6c94" providerId="ADAL" clId="{775E38DF-7547-4EB7-819D-F21CF3EEFCB6}" dt="2025-10-08T15:24:29.517" v="104824" actId="948"/>
          <ac:spMkLst>
            <pc:docMk/>
            <pc:sldMk cId="996002352" sldId="337"/>
            <ac:spMk id="3" creationId="{9CB97810-7360-0ECD-2CBA-ABF9E044DFFE}"/>
          </ac:spMkLst>
        </pc:spChg>
        <pc:spChg chg="add del mod modVis">
          <ac:chgData name="Warren Heaps" userId="b5f776f4-d2aa-4752-837a-86796e4c6c94" providerId="ADAL" clId="{775E38DF-7547-4EB7-819D-F21CF3EEFCB6}" dt="2025-10-08T15:24:31.371" v="104941"/>
          <ac:spMkLst>
            <pc:docMk/>
            <pc:sldMk cId="996002352" sldId="337"/>
            <ac:spMk id="4" creationId="{FFF5BEA2-5684-2D29-7EA2-C9F42B1E05AE}"/>
          </ac:spMkLst>
        </pc:spChg>
        <pc:spChg chg="add del mod modVis">
          <ac:chgData name="Warren Heaps" userId="b5f776f4-d2aa-4752-837a-86796e4c6c94" providerId="ADAL" clId="{775E38DF-7547-4EB7-819D-F21CF3EEFCB6}" dt="2025-10-08T15:24:33.489" v="104984"/>
          <ac:spMkLst>
            <pc:docMk/>
            <pc:sldMk cId="996002352" sldId="337"/>
            <ac:spMk id="6" creationId="{25A720E1-6392-7847-495A-E9FFE4718E6C}"/>
          </ac:spMkLst>
        </pc:spChg>
        <pc:spChg chg="mod">
          <ac:chgData name="Warren Heaps" userId="b5f776f4-d2aa-4752-837a-86796e4c6c94" providerId="ADAL" clId="{775E38DF-7547-4EB7-819D-F21CF3EEFCB6}" dt="2025-10-08T15:24:29.553" v="104831"/>
          <ac:spMkLst>
            <pc:docMk/>
            <pc:sldMk cId="996002352" sldId="337"/>
            <ac:spMk id="21" creationId="{E6367920-E037-A73A-7DC7-0484FBB692F6}"/>
          </ac:spMkLst>
        </pc:spChg>
        <pc:spChg chg="mod">
          <ac:chgData name="Warren Heaps" userId="b5f776f4-d2aa-4752-837a-86796e4c6c94" providerId="ADAL" clId="{775E38DF-7547-4EB7-819D-F21CF3EEFCB6}" dt="2025-10-08T15:24:29.649" v="104838"/>
          <ac:spMkLst>
            <pc:docMk/>
            <pc:sldMk cId="996002352" sldId="337"/>
            <ac:spMk id="28" creationId="{FCD94100-651A-DAEA-5AD5-E73A79C3CD4E}"/>
          </ac:spMkLst>
        </pc:spChg>
        <pc:spChg chg="mod">
          <ac:chgData name="Warren Heaps" userId="b5f776f4-d2aa-4752-837a-86796e4c6c94" providerId="ADAL" clId="{775E38DF-7547-4EB7-819D-F21CF3EEFCB6}" dt="2025-10-08T15:24:33.341" v="104955"/>
          <ac:spMkLst>
            <pc:docMk/>
            <pc:sldMk cId="996002352" sldId="337"/>
            <ac:spMk id="39" creationId="{C10FD59B-BE42-07AF-9FE2-A1FB7E229A57}"/>
          </ac:spMkLst>
        </pc:spChg>
        <pc:spChg chg="mod">
          <ac:chgData name="Warren Heaps" userId="b5f776f4-d2aa-4752-837a-86796e4c6c94" providerId="ADAL" clId="{775E38DF-7547-4EB7-819D-F21CF3EEFCB6}" dt="2025-10-08T15:24:31.351" v="104933"/>
          <ac:spMkLst>
            <pc:docMk/>
            <pc:sldMk cId="996002352" sldId="337"/>
            <ac:spMk id="40" creationId="{30B5F23A-8ADA-22D3-4E68-668A32A27AF2}"/>
          </ac:spMkLst>
        </pc:spChg>
        <pc:spChg chg="mod">
          <ac:chgData name="Warren Heaps" userId="b5f776f4-d2aa-4752-837a-86796e4c6c94" providerId="ADAL" clId="{775E38DF-7547-4EB7-819D-F21CF3EEFCB6}" dt="2025-10-08T15:24:31.359" v="104936"/>
          <ac:spMkLst>
            <pc:docMk/>
            <pc:sldMk cId="996002352" sldId="337"/>
            <ac:spMk id="71" creationId="{90AE0394-5207-3D8F-0780-0E103F29B5A0}"/>
          </ac:spMkLst>
        </pc:spChg>
        <pc:spChg chg="mod">
          <ac:chgData name="Warren Heaps" userId="b5f776f4-d2aa-4752-837a-86796e4c6c94" providerId="ADAL" clId="{775E38DF-7547-4EB7-819D-F21CF3EEFCB6}" dt="2025-10-08T15:24:31.368" v="104939"/>
          <ac:spMkLst>
            <pc:docMk/>
            <pc:sldMk cId="996002352" sldId="337"/>
            <ac:spMk id="72" creationId="{5216A4AB-74D0-4D55-C289-FC34F9CC9CC3}"/>
          </ac:spMkLst>
        </pc:spChg>
        <pc:graphicFrameChg chg="mod">
          <ac:chgData name="Warren Heaps" userId="b5f776f4-d2aa-4752-837a-86796e4c6c94" providerId="ADAL" clId="{775E38DF-7547-4EB7-819D-F21CF3EEFCB6}" dt="2025-10-08T15:24:33.492" v="104986"/>
          <ac:graphicFrameMkLst>
            <pc:docMk/>
            <pc:sldMk cId="996002352" sldId="337"/>
            <ac:graphicFrameMk id="5" creationId="{018BD840-7A04-60B7-9535-3BE034411617}"/>
          </ac:graphicFrameMkLst>
        </pc:graphicFrameChg>
      </pc:sldChg>
      <pc:sldChg chg="addSp delSp modSp add mod">
        <pc:chgData name="Warren Heaps" userId="b5f776f4-d2aa-4752-837a-86796e4c6c94" providerId="ADAL" clId="{775E38DF-7547-4EB7-819D-F21CF3EEFCB6}" dt="2025-10-08T15:27:27.769" v="105085"/>
        <pc:sldMkLst>
          <pc:docMk/>
          <pc:sldMk cId="2877278059" sldId="338"/>
        </pc:sldMkLst>
        <pc:spChg chg="mod">
          <ac:chgData name="Warren Heaps" userId="b5f776f4-d2aa-4752-837a-86796e4c6c94" providerId="ADAL" clId="{775E38DF-7547-4EB7-819D-F21CF3EEFCB6}" dt="2025-10-08T15:27:27.388" v="105028" actId="948"/>
          <ac:spMkLst>
            <pc:docMk/>
            <pc:sldMk cId="2877278059" sldId="338"/>
            <ac:spMk id="2" creationId="{BC3A865D-2229-F9C6-8354-09CF1AC32416}"/>
          </ac:spMkLst>
        </pc:spChg>
        <pc:spChg chg="add del mod modVis">
          <ac:chgData name="Warren Heaps" userId="b5f776f4-d2aa-4752-837a-86796e4c6c94" providerId="ADAL" clId="{775E38DF-7547-4EB7-819D-F21CF3EEFCB6}" dt="2025-10-08T15:27:27.764" v="105083"/>
          <ac:spMkLst>
            <pc:docMk/>
            <pc:sldMk cId="2877278059" sldId="338"/>
            <ac:spMk id="3" creationId="{06E749D0-A777-FB63-1B98-8D62651524B1}"/>
          </ac:spMkLst>
        </pc:spChg>
        <pc:spChg chg="mod">
          <ac:chgData name="Warren Heaps" userId="b5f776f4-d2aa-4752-837a-86796e4c6c94" providerId="ADAL" clId="{775E38DF-7547-4EB7-819D-F21CF3EEFCB6}" dt="2025-10-08T15:27:27.463" v="105048"/>
          <ac:spMkLst>
            <pc:docMk/>
            <pc:sldMk cId="2877278059" sldId="338"/>
            <ac:spMk id="28" creationId="{A791EF9B-1B33-A2AF-EDA0-D0C849C02513}"/>
          </ac:spMkLst>
        </pc:spChg>
        <pc:spChg chg="mod">
          <ac:chgData name="Warren Heaps" userId="b5f776f4-d2aa-4752-837a-86796e4c6c94" providerId="ADAL" clId="{775E38DF-7547-4EB7-819D-F21CF3EEFCB6}" dt="2025-10-08T15:27:27.761" v="105081"/>
          <ac:spMkLst>
            <pc:docMk/>
            <pc:sldMk cId="2877278059" sldId="338"/>
            <ac:spMk id="53" creationId="{57A365D2-00C6-CB82-2477-DD8D13F8EF2F}"/>
          </ac:spMkLst>
        </pc:spChg>
        <pc:graphicFrameChg chg="mod">
          <ac:chgData name="Warren Heaps" userId="b5f776f4-d2aa-4752-837a-86796e4c6c94" providerId="ADAL" clId="{775E38DF-7547-4EB7-819D-F21CF3EEFCB6}" dt="2025-10-08T15:27:27.769" v="105085"/>
          <ac:graphicFrameMkLst>
            <pc:docMk/>
            <pc:sldMk cId="2877278059" sldId="338"/>
            <ac:graphicFrameMk id="4" creationId="{1490A11F-FE5F-6086-A6B2-1F06C82880EB}"/>
          </ac:graphicFrameMkLst>
        </pc:graphicFrameChg>
      </pc:sldChg>
      <pc:sldChg chg="addSp delSp modSp new mod modClrScheme chgLayout">
        <pc:chgData name="Warren Heaps" userId="b5f776f4-d2aa-4752-837a-86796e4c6c94" providerId="ADAL" clId="{775E38DF-7547-4EB7-819D-F21CF3EEFCB6}" dt="2025-10-08T16:11:06.109" v="105980" actId="1076"/>
        <pc:sldMkLst>
          <pc:docMk/>
          <pc:sldMk cId="1147032642" sldId="339"/>
        </pc:sldMkLst>
        <pc:spChg chg="del mod">
          <ac:chgData name="Warren Heaps" userId="b5f776f4-d2aa-4752-837a-86796e4c6c94" providerId="ADAL" clId="{775E38DF-7547-4EB7-819D-F21CF3EEFCB6}" dt="2025-10-08T16:03:46.121" v="105510" actId="478"/>
          <ac:spMkLst>
            <pc:docMk/>
            <pc:sldMk cId="1147032642" sldId="339"/>
            <ac:spMk id="2" creationId="{BCD48CF6-A3E4-4315-19FE-8BCDE3FFDAD6}"/>
          </ac:spMkLst>
        </pc:spChg>
        <pc:spChg chg="add del mod modVis">
          <ac:chgData name="Warren Heaps" userId="b5f776f4-d2aa-4752-837a-86796e4c6c94" providerId="ADAL" clId="{775E38DF-7547-4EB7-819D-F21CF3EEFCB6}" dt="2025-10-08T16:02:59.926" v="105118"/>
          <ac:spMkLst>
            <pc:docMk/>
            <pc:sldMk cId="1147032642" sldId="339"/>
            <ac:spMk id="3" creationId="{14EC4ADB-8E9C-A8EC-0AC0-FBFC8FA68322}"/>
          </ac:spMkLst>
        </pc:spChg>
        <pc:spChg chg="add del mod modVis">
          <ac:chgData name="Warren Heaps" userId="b5f776f4-d2aa-4752-837a-86796e4c6c94" providerId="ADAL" clId="{775E38DF-7547-4EB7-819D-F21CF3EEFCB6}" dt="2025-10-08T16:03:01.632" v="105164"/>
          <ac:spMkLst>
            <pc:docMk/>
            <pc:sldMk cId="1147032642" sldId="339"/>
            <ac:spMk id="5" creationId="{E334D96C-2CA4-F595-26FE-1F96D03DA770}"/>
          </ac:spMkLst>
        </pc:spChg>
        <pc:spChg chg="add del mod modVis">
          <ac:chgData name="Warren Heaps" userId="b5f776f4-d2aa-4752-837a-86796e4c6c94" providerId="ADAL" clId="{775E38DF-7547-4EB7-819D-F21CF3EEFCB6}" dt="2025-10-08T16:03:05.992" v="105190"/>
          <ac:spMkLst>
            <pc:docMk/>
            <pc:sldMk cId="1147032642" sldId="339"/>
            <ac:spMk id="6" creationId="{9B88B29C-D82A-85CF-DF14-8CBA2F3DDB67}"/>
          </ac:spMkLst>
        </pc:spChg>
        <pc:spChg chg="add del mod modVis">
          <ac:chgData name="Warren Heaps" userId="b5f776f4-d2aa-4752-837a-86796e4c6c94" providerId="ADAL" clId="{775E38DF-7547-4EB7-819D-F21CF3EEFCB6}" dt="2025-10-08T16:03:11.498" v="105239"/>
          <ac:spMkLst>
            <pc:docMk/>
            <pc:sldMk cId="1147032642" sldId="339"/>
            <ac:spMk id="7" creationId="{D205395B-F872-02C4-6656-FB22DCA3C164}"/>
          </ac:spMkLst>
        </pc:spChg>
        <pc:spChg chg="add del mod modVis">
          <ac:chgData name="Warren Heaps" userId="b5f776f4-d2aa-4752-837a-86796e4c6c94" providerId="ADAL" clId="{775E38DF-7547-4EB7-819D-F21CF3EEFCB6}" dt="2025-10-08T16:03:12.910" v="105269"/>
          <ac:spMkLst>
            <pc:docMk/>
            <pc:sldMk cId="1147032642" sldId="339"/>
            <ac:spMk id="8" creationId="{8D421CF0-3A92-5D65-F2F7-29A2CFDBE2B8}"/>
          </ac:spMkLst>
        </pc:spChg>
        <pc:spChg chg="add del mod modVis">
          <ac:chgData name="Warren Heaps" userId="b5f776f4-d2aa-4752-837a-86796e4c6c94" providerId="ADAL" clId="{775E38DF-7547-4EB7-819D-F21CF3EEFCB6}" dt="2025-10-08T16:03:16.109" v="105295"/>
          <ac:spMkLst>
            <pc:docMk/>
            <pc:sldMk cId="1147032642" sldId="339"/>
            <ac:spMk id="9" creationId="{B47B7ADD-4181-EC3A-48C0-1D76059E2225}"/>
          </ac:spMkLst>
        </pc:spChg>
        <pc:spChg chg="add del mod modVis">
          <ac:chgData name="Warren Heaps" userId="b5f776f4-d2aa-4752-837a-86796e4c6c94" providerId="ADAL" clId="{775E38DF-7547-4EB7-819D-F21CF3EEFCB6}" dt="2025-10-08T16:03:18.240" v="105323"/>
          <ac:spMkLst>
            <pc:docMk/>
            <pc:sldMk cId="1147032642" sldId="339"/>
            <ac:spMk id="10" creationId="{C9008E50-241B-12E0-E190-0EB87CCE06B9}"/>
          </ac:spMkLst>
        </pc:spChg>
        <pc:spChg chg="add del mod modVis">
          <ac:chgData name="Warren Heaps" userId="b5f776f4-d2aa-4752-837a-86796e4c6c94" providerId="ADAL" clId="{775E38DF-7547-4EB7-819D-F21CF3EEFCB6}" dt="2025-10-08T16:03:20.130" v="105353"/>
          <ac:spMkLst>
            <pc:docMk/>
            <pc:sldMk cId="1147032642" sldId="339"/>
            <ac:spMk id="11" creationId="{E69721AF-02FD-CC3D-DDFC-2553839D65EB}"/>
          </ac:spMkLst>
        </pc:spChg>
        <pc:spChg chg="add del mod modVis">
          <ac:chgData name="Warren Heaps" userId="b5f776f4-d2aa-4752-837a-86796e4c6c94" providerId="ADAL" clId="{775E38DF-7547-4EB7-819D-F21CF3EEFCB6}" dt="2025-10-08T16:03:22.845" v="105379"/>
          <ac:spMkLst>
            <pc:docMk/>
            <pc:sldMk cId="1147032642" sldId="339"/>
            <ac:spMk id="12" creationId="{072A6C3B-F039-C06B-15FC-813250E36A95}"/>
          </ac:spMkLst>
        </pc:spChg>
        <pc:spChg chg="add del mod modVis">
          <ac:chgData name="Warren Heaps" userId="b5f776f4-d2aa-4752-837a-86796e4c6c94" providerId="ADAL" clId="{775E38DF-7547-4EB7-819D-F21CF3EEFCB6}" dt="2025-10-08T16:03:28.653" v="105413"/>
          <ac:spMkLst>
            <pc:docMk/>
            <pc:sldMk cId="1147032642" sldId="339"/>
            <ac:spMk id="13" creationId="{07126DEF-1D55-2449-B04C-FF7A3F3E6AE9}"/>
          </ac:spMkLst>
        </pc:spChg>
        <pc:spChg chg="add del mod modVis">
          <ac:chgData name="Warren Heaps" userId="b5f776f4-d2aa-4752-837a-86796e4c6c94" providerId="ADAL" clId="{775E38DF-7547-4EB7-819D-F21CF3EEFCB6}" dt="2025-10-08T16:03:30.561" v="105441"/>
          <ac:spMkLst>
            <pc:docMk/>
            <pc:sldMk cId="1147032642" sldId="339"/>
            <ac:spMk id="14" creationId="{6882AFC5-D307-371A-B83B-E3E2B2E47FEA}"/>
          </ac:spMkLst>
        </pc:spChg>
        <pc:spChg chg="add del mod modVis">
          <ac:chgData name="Warren Heaps" userId="b5f776f4-d2aa-4752-837a-86796e4c6c94" providerId="ADAL" clId="{775E38DF-7547-4EB7-819D-F21CF3EEFCB6}" dt="2025-10-08T16:03:36.199" v="105481"/>
          <ac:spMkLst>
            <pc:docMk/>
            <pc:sldMk cId="1147032642" sldId="339"/>
            <ac:spMk id="15" creationId="{EF51F859-34E3-4A8B-FA4C-2B05525B15D7}"/>
          </ac:spMkLst>
        </pc:spChg>
        <pc:spChg chg="add del mod modVis">
          <ac:chgData name="Warren Heaps" userId="b5f776f4-d2aa-4752-837a-86796e4c6c94" providerId="ADAL" clId="{775E38DF-7547-4EB7-819D-F21CF3EEFCB6}" dt="2025-10-08T16:03:37.125" v="105507"/>
          <ac:spMkLst>
            <pc:docMk/>
            <pc:sldMk cId="1147032642" sldId="339"/>
            <ac:spMk id="16" creationId="{0BA89FB4-517F-D4E3-6B35-AE9FD6A8F1D2}"/>
          </ac:spMkLst>
        </pc:spChg>
        <pc:spChg chg="add del mod">
          <ac:chgData name="Warren Heaps" userId="b5f776f4-d2aa-4752-837a-86796e4c6c94" providerId="ADAL" clId="{775E38DF-7547-4EB7-819D-F21CF3EEFCB6}" dt="2025-10-08T16:03:49.920" v="105513" actId="478"/>
          <ac:spMkLst>
            <pc:docMk/>
            <pc:sldMk cId="1147032642" sldId="339"/>
            <ac:spMk id="18" creationId="{7105A28E-6CC5-21AC-E67C-1903F8C70211}"/>
          </ac:spMkLst>
        </pc:spChg>
        <pc:spChg chg="add mod ord">
          <ac:chgData name="Warren Heaps" userId="b5f776f4-d2aa-4752-837a-86796e4c6c94" providerId="ADAL" clId="{775E38DF-7547-4EB7-819D-F21CF3EEFCB6}" dt="2025-10-08T16:07:51.887" v="105935" actId="948"/>
          <ac:spMkLst>
            <pc:docMk/>
            <pc:sldMk cId="1147032642" sldId="339"/>
            <ac:spMk id="19" creationId="{F1CC0CE8-5F65-627E-B248-2DAB752867F8}"/>
          </ac:spMkLst>
        </pc:spChg>
        <pc:spChg chg="add del mod modVis">
          <ac:chgData name="Warren Heaps" userId="b5f776f4-d2aa-4752-837a-86796e4c6c94" providerId="ADAL" clId="{775E38DF-7547-4EB7-819D-F21CF3EEFCB6}" dt="2025-10-08T16:04:02.484" v="105546"/>
          <ac:spMkLst>
            <pc:docMk/>
            <pc:sldMk cId="1147032642" sldId="339"/>
            <ac:spMk id="20" creationId="{37D8D406-0A62-7E50-18D3-3AC8F02C54E8}"/>
          </ac:spMkLst>
        </pc:spChg>
        <pc:spChg chg="add del mod modVis">
          <ac:chgData name="Warren Heaps" userId="b5f776f4-d2aa-4752-837a-86796e4c6c94" providerId="ADAL" clId="{775E38DF-7547-4EB7-819D-F21CF3EEFCB6}" dt="2025-10-08T16:04:05.677" v="105586"/>
          <ac:spMkLst>
            <pc:docMk/>
            <pc:sldMk cId="1147032642" sldId="339"/>
            <ac:spMk id="21" creationId="{2183B2DB-556C-54C4-5C5B-571B9CA9DF79}"/>
          </ac:spMkLst>
        </pc:spChg>
        <pc:spChg chg="add del mod modVis">
          <ac:chgData name="Warren Heaps" userId="b5f776f4-d2aa-4752-837a-86796e4c6c94" providerId="ADAL" clId="{775E38DF-7547-4EB7-819D-F21CF3EEFCB6}" dt="2025-10-08T16:04:09.816" v="105636"/>
          <ac:spMkLst>
            <pc:docMk/>
            <pc:sldMk cId="1147032642" sldId="339"/>
            <ac:spMk id="22" creationId="{1098CE30-910A-DD65-2FF0-6C97936E4FB7}"/>
          </ac:spMkLst>
        </pc:spChg>
        <pc:spChg chg="add del mod modVis">
          <ac:chgData name="Warren Heaps" userId="b5f776f4-d2aa-4752-837a-86796e4c6c94" providerId="ADAL" clId="{775E38DF-7547-4EB7-819D-F21CF3EEFCB6}" dt="2025-10-08T16:04:11.271" v="105663"/>
          <ac:spMkLst>
            <pc:docMk/>
            <pc:sldMk cId="1147032642" sldId="339"/>
            <ac:spMk id="23" creationId="{D00729F3-C63A-F2C6-516E-172505851F54}"/>
          </ac:spMkLst>
        </pc:spChg>
        <pc:spChg chg="add del mod modVis">
          <ac:chgData name="Warren Heaps" userId="b5f776f4-d2aa-4752-837a-86796e4c6c94" providerId="ADAL" clId="{775E38DF-7547-4EB7-819D-F21CF3EEFCB6}" dt="2025-10-08T16:04:16.127" v="105688"/>
          <ac:spMkLst>
            <pc:docMk/>
            <pc:sldMk cId="1147032642" sldId="339"/>
            <ac:spMk id="24" creationId="{A16D37E3-3317-DC31-A1F8-5DED5BDF1FE5}"/>
          </ac:spMkLst>
        </pc:spChg>
        <pc:spChg chg="add del mod modVis">
          <ac:chgData name="Warren Heaps" userId="b5f776f4-d2aa-4752-837a-86796e4c6c94" providerId="ADAL" clId="{775E38DF-7547-4EB7-819D-F21CF3EEFCB6}" dt="2025-10-08T16:04:17.795" v="105718"/>
          <ac:spMkLst>
            <pc:docMk/>
            <pc:sldMk cId="1147032642" sldId="339"/>
            <ac:spMk id="25" creationId="{A8A28365-CF7A-7348-10A1-6CF9DC323353}"/>
          </ac:spMkLst>
        </pc:spChg>
        <pc:spChg chg="add mod">
          <ac:chgData name="Warren Heaps" userId="b5f776f4-d2aa-4752-837a-86796e4c6c94" providerId="ADAL" clId="{775E38DF-7547-4EB7-819D-F21CF3EEFCB6}" dt="2025-10-08T16:09:32.426" v="105970" actId="1076"/>
          <ac:spMkLst>
            <pc:docMk/>
            <pc:sldMk cId="1147032642" sldId="339"/>
            <ac:spMk id="29" creationId="{D7CB8805-26AF-360E-7C7D-8E1945EDCA13}"/>
          </ac:spMkLst>
        </pc:spChg>
        <pc:spChg chg="add del mod">
          <ac:chgData name="Warren Heaps" userId="b5f776f4-d2aa-4752-837a-86796e4c6c94" providerId="ADAL" clId="{775E38DF-7547-4EB7-819D-F21CF3EEFCB6}" dt="2025-10-08T16:10:01.975" v="105972" actId="478"/>
          <ac:spMkLst>
            <pc:docMk/>
            <pc:sldMk cId="1147032642" sldId="339"/>
            <ac:spMk id="30" creationId="{E6954C77-EBFB-72FD-1235-6E9ACC9455CB}"/>
          </ac:spMkLst>
        </pc:spChg>
        <pc:spChg chg="add mod">
          <ac:chgData name="Warren Heaps" userId="b5f776f4-d2aa-4752-837a-86796e4c6c94" providerId="ADAL" clId="{775E38DF-7547-4EB7-819D-F21CF3EEFCB6}" dt="2025-10-08T16:08:25.025" v="105963" actId="1076"/>
          <ac:spMkLst>
            <pc:docMk/>
            <pc:sldMk cId="1147032642" sldId="339"/>
            <ac:spMk id="31" creationId="{FDD39415-B2BB-8FF8-B220-190F4CC3BF3C}"/>
          </ac:spMkLst>
        </pc:spChg>
        <pc:spChg chg="add del mod modVis">
          <ac:chgData name="Warren Heaps" userId="b5f776f4-d2aa-4752-837a-86796e4c6c94" providerId="ADAL" clId="{775E38DF-7547-4EB7-819D-F21CF3EEFCB6}" dt="2025-10-08T16:07:51.974" v="105956"/>
          <ac:spMkLst>
            <pc:docMk/>
            <pc:sldMk cId="1147032642" sldId="339"/>
            <ac:spMk id="32" creationId="{7CD88ABA-4A46-B2C3-8FA8-F752F66BED1D}"/>
          </ac:spMkLst>
        </pc:spChg>
        <pc:spChg chg="add mod">
          <ac:chgData name="Warren Heaps" userId="b5f776f4-d2aa-4752-837a-86796e4c6c94" providerId="ADAL" clId="{775E38DF-7547-4EB7-819D-F21CF3EEFCB6}" dt="2025-10-08T16:11:06.109" v="105980" actId="1076"/>
          <ac:spMkLst>
            <pc:docMk/>
            <pc:sldMk cId="1147032642" sldId="339"/>
            <ac:spMk id="33" creationId="{938CED77-6FFF-A29F-66AD-68D4C3E7BB14}"/>
          </ac:spMkLst>
        </pc:spChg>
        <pc:graphicFrameChg chg="add mod ord modVis">
          <ac:chgData name="Warren Heaps" userId="b5f776f4-d2aa-4752-837a-86796e4c6c94" providerId="ADAL" clId="{775E38DF-7547-4EB7-819D-F21CF3EEFCB6}" dt="2025-10-08T16:08:17.346" v="105962"/>
          <ac:graphicFrameMkLst>
            <pc:docMk/>
            <pc:sldMk cId="1147032642" sldId="339"/>
            <ac:graphicFrameMk id="4" creationId="{6C998CD8-6230-D61A-AFDF-21CEC4DE8A3A}"/>
          </ac:graphicFrameMkLst>
        </pc:graphicFrameChg>
        <pc:picChg chg="add del mod">
          <ac:chgData name="Warren Heaps" userId="b5f776f4-d2aa-4752-837a-86796e4c6c94" providerId="ADAL" clId="{775E38DF-7547-4EB7-819D-F21CF3EEFCB6}" dt="2025-10-08T16:04:56.710" v="105741"/>
          <ac:picMkLst>
            <pc:docMk/>
            <pc:sldMk cId="1147032642" sldId="339"/>
            <ac:picMk id="26" creationId="{EDB790E0-38AB-E9CF-EBC9-870DC05E9203}"/>
          </ac:picMkLst>
        </pc:picChg>
        <pc:picChg chg="add del mod">
          <ac:chgData name="Warren Heaps" userId="b5f776f4-d2aa-4752-837a-86796e4c6c94" providerId="ADAL" clId="{775E38DF-7547-4EB7-819D-F21CF3EEFCB6}" dt="2025-10-08T16:05:04.990" v="105767"/>
          <ac:picMkLst>
            <pc:docMk/>
            <pc:sldMk cId="1147032642" sldId="339"/>
            <ac:picMk id="27" creationId="{22B35146-5E8A-E6F6-C92E-D25D73AC314E}"/>
          </ac:picMkLst>
        </pc:picChg>
        <pc:picChg chg="add mod">
          <ac:chgData name="Warren Heaps" userId="b5f776f4-d2aa-4752-837a-86796e4c6c94" providerId="ADAL" clId="{775E38DF-7547-4EB7-819D-F21CF3EEFCB6}" dt="2025-10-08T16:08:17.339" v="105960"/>
          <ac:picMkLst>
            <pc:docMk/>
            <pc:sldMk cId="1147032642" sldId="339"/>
            <ac:picMk id="28" creationId="{5B8279AE-43C2-6271-EB8E-307BEAEEB64B}"/>
          </ac:picMkLst>
        </pc:picChg>
      </pc:sldChg>
      <pc:sldMasterChg chg="addSp delSp modSp mod modSldLayout">
        <pc:chgData name="Warren Heaps" userId="b5f776f4-d2aa-4752-837a-86796e4c6c94" providerId="ADAL" clId="{775E38DF-7547-4EB7-819D-F21CF3EEFCB6}" dt="2025-10-06T20:22:02.475" v="2778"/>
        <pc:sldMasterMkLst>
          <pc:docMk/>
          <pc:sldMasterMk cId="1607149651" sldId="2147483708"/>
        </pc:sldMasterMkLst>
        <pc:spChg chg="mod">
          <ac:chgData name="Warren Heaps" userId="b5f776f4-d2aa-4752-837a-86796e4c6c94" providerId="ADAL" clId="{775E38DF-7547-4EB7-819D-F21CF3EEFCB6}" dt="2025-10-06T20:22:02.175" v="2719" actId="948"/>
          <ac:spMkLst>
            <pc:docMk/>
            <pc:sldMasterMk cId="1607149651" sldId="2147483708"/>
            <ac:spMk id="2" creationId="{8F6C5231-B270-7943-B4FE-4B0ECEC23904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asterMk cId="1607149651" sldId="2147483708"/>
            <ac:spMk id="3" creationId="{885371E8-7632-3C4A-ADA5-1A7187B6BE78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asterMk cId="1607149651" sldId="2147483708"/>
            <ac:spMk id="4" creationId="{96D71BC2-3ED4-354F-A526-26A936A8F430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asterMk cId="1607149651" sldId="2147483708"/>
            <ac:spMk id="5" creationId="{C3560399-0414-6B46-8330-75170832FA0B}"/>
          </ac:spMkLst>
        </pc:spChg>
        <pc:spChg chg="mod">
          <ac:chgData name="Warren Heaps" userId="b5f776f4-d2aa-4752-837a-86796e4c6c94" providerId="ADAL" clId="{775E38DF-7547-4EB7-819D-F21CF3EEFCB6}" dt="2025-10-06T20:22:01.327" v="2677"/>
          <ac:spMkLst>
            <pc:docMk/>
            <pc:sldMasterMk cId="1607149651" sldId="2147483708"/>
            <ac:spMk id="6" creationId="{E819344A-D4F4-F74E-AF4F-AE7B30810D9C}"/>
          </ac:spMkLst>
        </pc:spChg>
        <pc:graphicFrameChg chg="mod">
          <ac:chgData name="Warren Heaps" userId="b5f776f4-d2aa-4752-837a-86796e4c6c94" providerId="ADAL" clId="{775E38DF-7547-4EB7-819D-F21CF3EEFCB6}" dt="2025-10-06T20:22:02.475" v="2778"/>
          <ac:graphicFrameMkLst>
            <pc:docMk/>
            <pc:sldMasterMk cId="1607149651" sldId="2147483708"/>
            <ac:graphicFrameMk id="7" creationId="{29DC4CAD-0E93-9A84-37C1-2FA595FA94A0}"/>
          </ac:graphicFrameMkLst>
        </pc:graphicFrame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1402630440" sldId="2147483710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402630440" sldId="2147483710"/>
              <ac:spMk id="2" creationId="{0A551461-DD65-6544-84C7-5A16AB322785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402630440" sldId="2147483710"/>
              <ac:spMk id="3" creationId="{77891527-FC89-874D-AF11-5C77AEBA266B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402630440" sldId="2147483710"/>
              <ac:spMk id="9" creationId="{5646EC27-732C-D645-A55D-E9D0226DFC4F}"/>
            </ac:spMkLst>
          </pc:sp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636888985" sldId="2147483711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636888985" sldId="2147483711"/>
              <ac:spMk id="2" creationId="{0A551461-DD65-6544-84C7-5A16AB322785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636888985" sldId="2147483711"/>
              <ac:spMk id="3" creationId="{77891527-FC89-874D-AF11-5C77AEBA266B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636888985" sldId="2147483711"/>
              <ac:spMk id="9" creationId="{5646EC27-732C-D645-A55D-E9D0226DFC4F}"/>
            </ac:spMkLst>
          </pc:sp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636888985" sldId="2147483711"/>
              <ac:picMk id="10" creationId="{E82877D1-8443-9D42-A7F8-23BE2F0B1E5F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636888985" sldId="2147483711"/>
              <ac:picMk id="11" creationId="{6577006A-8F49-904F-BE62-6FC1521DF05A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464637664" sldId="2147483712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464637664" sldId="2147483712"/>
              <ac:spMk id="3" creationId="{5E09B2DF-054D-0D4E-AB3B-7E3EA198D7CB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464637664" sldId="2147483712"/>
              <ac:spMk id="7" creationId="{E78A2B4C-373E-9645-B0EB-ABF7C29A7AD9}"/>
            </ac:spMkLst>
          </pc:spChg>
          <pc:graphicFrameChg chg="mod">
            <ac:chgData name="Warren Heaps" userId="b5f776f4-d2aa-4752-837a-86796e4c6c94" providerId="ADAL" clId="{775E38DF-7547-4EB7-819D-F21CF3EEFCB6}" dt="2025-10-06T20:22:01.327" v="2677"/>
            <ac:graphicFrameMkLst>
              <pc:docMk/>
              <pc:sldMasterMk cId="1607149651" sldId="2147483708"/>
              <pc:sldLayoutMk cId="464637664" sldId="2147483712"/>
              <ac:graphicFrameMk id="5" creationId="{9B5B0D49-7984-D895-ECAD-9026F7DF09DB}"/>
            </ac:graphicFrameMkLst>
          </pc:graphicFrame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464637664" sldId="2147483712"/>
              <ac:picMk id="9" creationId="{45F0CC07-9C31-7147-8520-FB34B21D663E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464637664" sldId="2147483712"/>
              <ac:picMk id="10" creationId="{3ED5E2BB-795D-794E-BD37-2A70611B9599}"/>
            </ac:picMkLst>
          </pc:picChg>
        </pc:sldLayoutChg>
        <pc:sldLayoutChg chg="addSp delSp modSp mod">
          <pc:chgData name="Warren Heaps" userId="b5f776f4-d2aa-4752-837a-86796e4c6c94" providerId="ADAL" clId="{775E38DF-7547-4EB7-819D-F21CF3EEFCB6}" dt="2025-10-06T20:22:02.371" v="2756"/>
          <pc:sldLayoutMkLst>
            <pc:docMk/>
            <pc:sldMasterMk cId="1607149651" sldId="2147483708"/>
            <pc:sldLayoutMk cId="915924323" sldId="2147483713"/>
          </pc:sldLayoutMkLst>
          <pc:spChg chg="mod">
            <ac:chgData name="Warren Heaps" userId="b5f776f4-d2aa-4752-837a-86796e4c6c94" providerId="ADAL" clId="{775E38DF-7547-4EB7-819D-F21CF3EEFCB6}" dt="2025-10-06T20:22:01.965" v="2679" actId="948"/>
            <ac:spMkLst>
              <pc:docMk/>
              <pc:sldMasterMk cId="1607149651" sldId="2147483708"/>
              <pc:sldLayoutMk cId="915924323" sldId="2147483713"/>
              <ac:spMk id="2" creationId="{F7F0DE45-0797-6147-AE0D-1C6EF249736D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915924323" sldId="2147483713"/>
              <ac:spMk id="4" creationId="{9FD9C827-3AFF-04EB-A2E9-4769EDAC3BBD}"/>
            </ac:spMkLst>
          </pc:spChg>
          <pc:graphicFrameChg chg="mod">
            <ac:chgData name="Warren Heaps" userId="b5f776f4-d2aa-4752-837a-86796e4c6c94" providerId="ADAL" clId="{775E38DF-7547-4EB7-819D-F21CF3EEFCB6}" dt="2025-10-06T20:22:02.371" v="2756"/>
            <ac:graphicFrameMkLst>
              <pc:docMk/>
              <pc:sldMasterMk cId="1607149651" sldId="2147483708"/>
              <pc:sldLayoutMk cId="915924323" sldId="2147483713"/>
              <ac:graphicFrameMk id="5" creationId="{F8A93664-9D94-0FAB-984F-7434227827FE}"/>
            </ac:graphicFrameMkLst>
          </pc:graphicFrame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915924323" sldId="2147483713"/>
              <ac:picMk id="9" creationId="{45F0CC07-9C31-7147-8520-FB34B21D663E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915924323" sldId="2147483713"/>
              <ac:picMk id="10" creationId="{3ED5E2BB-795D-794E-BD37-2A70611B9599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843486845" sldId="2147483714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843486845" sldId="2147483714"/>
              <ac:spMk id="2" creationId="{3D29EF9C-6572-F345-8396-D94DFC5042CA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843486845" sldId="2147483714"/>
              <ac:spMk id="3" creationId="{269A5F31-8C16-B747-A2A7-BB8E8589311A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843486845" sldId="2147483714"/>
              <ac:spMk id="4" creationId="{7A941F30-FBDC-9C41-A05B-EE969F221391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843486845" sldId="2147483714"/>
              <ac:spMk id="12" creationId="{8F0ABE45-4E63-2547-93A4-62E2D41F31ED}"/>
            </ac:spMkLst>
          </pc:sp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843486845" sldId="2147483714"/>
              <ac:picMk id="10" creationId="{98E93DA9-FD8C-1146-A350-2AAA467DB460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843486845" sldId="2147483714"/>
              <ac:picMk id="11" creationId="{B29B5F53-E1D1-454E-A867-C080A10B7BFA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843486845" sldId="2147483714"/>
              <ac:picMk id="14" creationId="{CDCFFA74-739B-8545-9F7E-DDB0FD24DA69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2535066538" sldId="2147483715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2535066538" sldId="2147483715"/>
              <ac:spMk id="2" creationId="{3D29EF9C-6572-F345-8396-D94DFC5042CA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2535066538" sldId="2147483715"/>
              <ac:spMk id="3" creationId="{269A5F31-8C16-B747-A2A7-BB8E8589311A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2535066538" sldId="2147483715"/>
              <ac:spMk id="4" creationId="{7A941F30-FBDC-9C41-A05B-EE969F221391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2535066538" sldId="2147483715"/>
              <ac:spMk id="12" creationId="{8F0ABE45-4E63-2547-93A4-62E2D41F31ED}"/>
            </ac:spMkLst>
          </pc:sp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2535066538" sldId="2147483715"/>
              <ac:picMk id="6" creationId="{CE4977C1-6578-894D-BE54-4A32E39363AD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2535066538" sldId="2147483715"/>
              <ac:picMk id="10" creationId="{98E93DA9-FD8C-1146-A350-2AAA467DB460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2535066538" sldId="2147483715"/>
              <ac:picMk id="11" creationId="{B29B5F53-E1D1-454E-A867-C080A10B7BFA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2535066538" sldId="2147483715"/>
              <ac:picMk id="14" creationId="{CDCFFA74-739B-8545-9F7E-DDB0FD24DA69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4010771226" sldId="2147483716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4010771226" sldId="2147483716"/>
              <ac:spMk id="5" creationId="{71BDE26C-B0ED-5B49-B26A-EA5990345BA0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4010771226" sldId="2147483716"/>
              <ac:spMk id="9" creationId="{8D7C45DD-F2EF-F14D-BD75-534A30643A95}"/>
            </ac:spMkLst>
          </pc:sp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4010771226" sldId="2147483716"/>
              <ac:picMk id="7" creationId="{5D0A52A0-EC8D-6649-A0CB-23728B3295AE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4177929724" sldId="2147483717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4177929724" sldId="2147483717"/>
              <ac:spMk id="6" creationId="{FB121833-3270-424C-8BB2-A6F1F6F92507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4177929724" sldId="2147483717"/>
              <ac:spMk id="9" creationId="{8D7C45DD-F2EF-F14D-BD75-534A30643A95}"/>
            </ac:spMkLst>
          </pc:sp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4177929724" sldId="2147483717"/>
              <ac:picMk id="8" creationId="{E1D238CF-C84F-9846-B06E-DAC317E2B8C1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3016744155" sldId="2147483718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3016744155" sldId="2147483718"/>
              <ac:spMk id="5" creationId="{71BDE26C-B0ED-5B49-B26A-EA5990345BA0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3016744155" sldId="2147483718"/>
              <ac:spMk id="9" creationId="{8D7C45DD-F2EF-F14D-BD75-534A30643A95}"/>
            </ac:spMkLst>
          </pc:sp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3016744155" sldId="2147483718"/>
              <ac:picMk id="7" creationId="{5D0A52A0-EC8D-6649-A0CB-23728B3295AE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1215709714" sldId="2147483719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215709714" sldId="2147483719"/>
              <ac:spMk id="2" creationId="{3D29EF9C-6572-F345-8396-D94DFC5042CA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215709714" sldId="2147483719"/>
              <ac:spMk id="3" creationId="{269A5F31-8C16-B747-A2A7-BB8E8589311A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215709714" sldId="2147483719"/>
              <ac:spMk id="4" creationId="{7A941F30-FBDC-9C41-A05B-EE969F221391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215709714" sldId="2147483719"/>
              <ac:spMk id="12" creationId="{8F0ABE45-4E63-2547-93A4-62E2D41F31ED}"/>
            </ac:spMkLst>
          </pc:sp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1215709714" sldId="2147483719"/>
              <ac:picMk id="8" creationId="{CDCFFA74-739B-8545-9F7E-DDB0FD24DA69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1215709714" sldId="2147483719"/>
              <ac:picMk id="10" creationId="{98E93DA9-FD8C-1146-A350-2AAA467DB460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1215709714" sldId="2147483719"/>
              <ac:picMk id="11" creationId="{B29B5F53-E1D1-454E-A867-C080A10B7BFA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1812616555" sldId="2147483720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812616555" sldId="2147483720"/>
              <ac:spMk id="2" creationId="{3D29EF9C-6572-F345-8396-D94DFC5042CA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812616555" sldId="2147483720"/>
              <ac:spMk id="3" creationId="{269A5F31-8C16-B747-A2A7-BB8E8589311A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812616555" sldId="2147483720"/>
              <ac:spMk id="4" creationId="{7A941F30-FBDC-9C41-A05B-EE969F221391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812616555" sldId="2147483720"/>
              <ac:spMk id="12" creationId="{8F0ABE45-4E63-2547-93A4-62E2D41F31ED}"/>
            </ac:spMkLst>
          </pc:sp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1812616555" sldId="2147483720"/>
              <ac:picMk id="6" creationId="{CE4977C1-6578-894D-BE54-4A32E39363AD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1812616555" sldId="2147483720"/>
              <ac:picMk id="9" creationId="{CDCFFA74-739B-8545-9F7E-DDB0FD24DA69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1812616555" sldId="2147483720"/>
              <ac:picMk id="10" creationId="{98E93DA9-FD8C-1146-A350-2AAA467DB460}"/>
            </ac:picMkLst>
          </pc:pic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1812616555" sldId="2147483720"/>
              <ac:picMk id="11" creationId="{B29B5F53-E1D1-454E-A867-C080A10B7BFA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2314877744" sldId="2147483721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2314877744" sldId="2147483721"/>
              <ac:spMk id="5" creationId="{71BDE26C-B0ED-5B49-B26A-EA5990345BA0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2314877744" sldId="2147483721"/>
              <ac:spMk id="9" creationId="{8D7C45DD-F2EF-F14D-BD75-534A30643A95}"/>
            </ac:spMkLst>
          </pc:sp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2314877744" sldId="2147483721"/>
              <ac:picMk id="7" creationId="{5D0A52A0-EC8D-6649-A0CB-23728B3295AE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1790295999" sldId="2147483722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790295999" sldId="2147483722"/>
              <ac:spMk id="6" creationId="{FB121833-3270-424C-8BB2-A6F1F6F92507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790295999" sldId="2147483722"/>
              <ac:spMk id="9" creationId="{8D7C45DD-F2EF-F14D-BD75-534A30643A95}"/>
            </ac:spMkLst>
          </pc:spChg>
          <pc:picChg chg="mod">
            <ac:chgData name="Warren Heaps" userId="b5f776f4-d2aa-4752-837a-86796e4c6c94" providerId="ADAL" clId="{775E38DF-7547-4EB7-819D-F21CF3EEFCB6}" dt="2025-10-06T20:22:01.327" v="2677"/>
            <ac:picMkLst>
              <pc:docMk/>
              <pc:sldMasterMk cId="1607149651" sldId="2147483708"/>
              <pc:sldLayoutMk cId="1790295999" sldId="2147483722"/>
              <ac:picMk id="8" creationId="{E1D238CF-C84F-9846-B06E-DAC317E2B8C1}"/>
            </ac:picMkLst>
          </pc:pic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3806768772" sldId="2147483724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3806768772" sldId="2147483724"/>
              <ac:spMk id="2" creationId="{311CBDC7-7055-8C16-D806-200226759C3E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3806768772" sldId="2147483724"/>
              <ac:spMk id="3" creationId="{CEE8DEE4-E4A2-34C6-1D4D-1D8A660AAC5F}"/>
            </ac:spMkLst>
          </pc:spChg>
        </pc:sldLayoutChg>
        <pc:sldLayoutChg chg="delSp 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811623355" sldId="2147483725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811623355" sldId="2147483725"/>
              <ac:spMk id="10" creationId="{00000000-0000-0000-0000-000000000000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811623355" sldId="2147483725"/>
              <ac:spMk id="11" creationId="{00000000-0000-0000-0000-000000000000}"/>
            </ac:spMkLst>
          </pc:sp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1065730756" sldId="2147483726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065730756" sldId="2147483726"/>
              <ac:spMk id="2" creationId="{00000000-0000-0000-0000-000000000000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065730756" sldId="2147483726"/>
              <ac:spMk id="3" creationId="{00000000-0000-0000-0000-000000000000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065730756" sldId="2147483726"/>
              <ac:spMk id="4" creationId="{00000000-0000-0000-0000-000000000000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065730756" sldId="2147483726"/>
              <ac:spMk id="5" creationId="{00000000-0000-0000-0000-000000000000}"/>
            </ac:spMkLst>
          </pc:spChg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1065730756" sldId="2147483726"/>
              <ac:spMk id="6" creationId="{00000000-0000-0000-0000-000000000000}"/>
            </ac:spMkLst>
          </pc:spChg>
        </pc:sldLayoutChg>
        <pc:sldLayoutChg chg="modSp">
          <pc:chgData name="Warren Heaps" userId="b5f776f4-d2aa-4752-837a-86796e4c6c94" providerId="ADAL" clId="{775E38DF-7547-4EB7-819D-F21CF3EEFCB6}" dt="2025-10-06T20:22:01.327" v="2677"/>
          <pc:sldLayoutMkLst>
            <pc:docMk/>
            <pc:sldMasterMk cId="1607149651" sldId="2147483708"/>
            <pc:sldLayoutMk cId="3741030466" sldId="2147483728"/>
          </pc:sldLayoutMkLst>
          <pc:spChg chg="mod">
            <ac:chgData name="Warren Heaps" userId="b5f776f4-d2aa-4752-837a-86796e4c6c94" providerId="ADAL" clId="{775E38DF-7547-4EB7-819D-F21CF3EEFCB6}" dt="2025-10-06T20:22:01.327" v="2677"/>
            <ac:spMkLst>
              <pc:docMk/>
              <pc:sldMasterMk cId="1607149651" sldId="2147483708"/>
              <pc:sldLayoutMk cId="3741030466" sldId="2147483728"/>
              <ac:spMk id="6" creationId="{00000000-0000-0000-0000-000000000000}"/>
            </ac:spMkLst>
          </pc:spChg>
        </pc:sldLayoutChg>
      </pc:sldMasterChg>
    </pc:docChg>
  </pc:docChgLst>
  <pc:docChgLst>
    <pc:chgData name="Bianca Valencia" userId="S::bianca.valencia@birchesgroup.com::51c2520d-ee94-456a-97e1-3c81a4ab4711" providerId="AD" clId="Web-{9C107BA7-38D7-99EC-662E-A412584702C1}"/>
    <pc:docChg chg="modSld">
      <pc:chgData name="Bianca Valencia" userId="S::bianca.valencia@birchesgroup.com::51c2520d-ee94-456a-97e1-3c81a4ab4711" providerId="AD" clId="Web-{9C107BA7-38D7-99EC-662E-A412584702C1}" dt="2025-10-08T11:01:36.711" v="25" actId="1076"/>
      <pc:docMkLst>
        <pc:docMk/>
      </pc:docMkLst>
      <pc:sldChg chg="modSp">
        <pc:chgData name="Bianca Valencia" userId="S::bianca.valencia@birchesgroup.com::51c2520d-ee94-456a-97e1-3c81a4ab4711" providerId="AD" clId="Web-{9C107BA7-38D7-99EC-662E-A412584702C1}" dt="2025-10-08T11:01:36.711" v="25" actId="1076"/>
        <pc:sldMkLst>
          <pc:docMk/>
          <pc:sldMk cId="4150906537" sldId="334"/>
        </pc:sldMkLst>
        <pc:spChg chg="mod">
          <ac:chgData name="Bianca Valencia" userId="S::bianca.valencia@birchesgroup.com::51c2520d-ee94-456a-97e1-3c81a4ab4711" providerId="AD" clId="Web-{9C107BA7-38D7-99EC-662E-A412584702C1}" dt="2025-10-08T11:00:02.796" v="2"/>
          <ac:spMkLst>
            <pc:docMk/>
            <pc:sldMk cId="4150906537" sldId="334"/>
            <ac:spMk id="3" creationId="{451E4CE3-0E3D-46C3-3B97-3B1D565AF666}"/>
          </ac:spMkLst>
        </pc:spChg>
        <pc:spChg chg="mod">
          <ac:chgData name="Bianca Valencia" userId="S::bianca.valencia@birchesgroup.com::51c2520d-ee94-456a-97e1-3c81a4ab4711" providerId="AD" clId="Web-{9C107BA7-38D7-99EC-662E-A412584702C1}" dt="2025-10-08T11:01:29.788" v="24" actId="20577"/>
          <ac:spMkLst>
            <pc:docMk/>
            <pc:sldMk cId="4150906537" sldId="334"/>
            <ac:spMk id="20" creationId="{E1488794-64A1-45DA-14DF-2D6886375C91}"/>
          </ac:spMkLst>
        </pc:spChg>
        <pc:spChg chg="mod">
          <ac:chgData name="Bianca Valencia" userId="S::bianca.valencia@birchesgroup.com::51c2520d-ee94-456a-97e1-3c81a4ab4711" providerId="AD" clId="Web-{9C107BA7-38D7-99EC-662E-A412584702C1}" dt="2025-10-08T11:01:36.711" v="25" actId="1076"/>
          <ac:spMkLst>
            <pc:docMk/>
            <pc:sldMk cId="4150906537" sldId="334"/>
            <ac:spMk id="21" creationId="{77861B02-3968-85C7-1317-ABEC21BE3CE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34279829336472E-2"/>
          <c:y val="0.11324200913242009"/>
          <c:w val="0.97454759452699724"/>
          <c:h val="0.82191780821917804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2C5E28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6F5-41F5-BEF0-CE7FE8E7AB9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6F5-41F5-BEF0-CE7FE8E7AB9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6F5-41F5-BEF0-CE7FE8E7AB9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6F5-41F5-BEF0-CE7FE8E7AB9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6F5-41F5-BEF0-CE7FE8E7AB9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6F5-41F5-BEF0-CE7FE8E7AB9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6F5-41F5-BEF0-CE7FE8E7AB9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6F5-41F5-BEF0-CE7FE8E7AB9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6F5-41F5-BEF0-CE7FE8E7AB9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6F5-41F5-BEF0-CE7FE8E7AB9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6F5-41F5-BEF0-CE7FE8E7AB9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C6F5-41F5-BEF0-CE7FE8E7AB9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C6F5-41F5-BEF0-CE7FE8E7AB9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C6F5-41F5-BEF0-CE7FE8E7AB9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C6F5-41F5-BEF0-CE7FE8E7AB9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C6F5-41F5-BEF0-CE7FE8E7AB9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C6F5-41F5-BEF0-CE7FE8E7AB9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C6F5-41F5-BEF0-CE7FE8E7AB9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C6F5-41F5-BEF0-CE7FE8E7AB9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C6F5-41F5-BEF0-CE7FE8E7AB9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C6F5-41F5-BEF0-CE7FE8E7AB9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C6F5-41F5-BEF0-CE7FE8E7AB9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C6F5-41F5-BEF0-CE7FE8E7AB9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C6F5-41F5-BEF0-CE7FE8E7AB9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C6F5-41F5-BEF0-CE7FE8E7AB9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C6F5-41F5-BEF0-CE7FE8E7AB9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C6F5-41F5-BEF0-CE7FE8E7AB9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C6F5-41F5-BEF0-CE7FE8E7AB9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C6F5-41F5-BEF0-CE7FE8E7AB9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C6F5-41F5-BEF0-CE7FE8E7AB9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C6F5-41F5-BEF0-CE7FE8E7AB9C}"/>
              </c:ext>
            </c:extLst>
          </c:dPt>
          <c:dLbls>
            <c:dLbl>
              <c:idx val="0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6F5-41F5-BEF0-CE7FE8E7AB9C}"/>
                </c:ext>
              </c:extLst>
            </c:dLbl>
            <c:dLbl>
              <c:idx val="1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6F5-41F5-BEF0-CE7FE8E7AB9C}"/>
                </c:ext>
              </c:extLst>
            </c:dLbl>
            <c:dLbl>
              <c:idx val="2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6F5-41F5-BEF0-CE7FE8E7AB9C}"/>
                </c:ext>
              </c:extLst>
            </c:dLbl>
            <c:dLbl>
              <c:idx val="3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6F5-41F5-BEF0-CE7FE8E7AB9C}"/>
                </c:ext>
              </c:extLst>
            </c:dLbl>
            <c:dLbl>
              <c:idx val="4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6F5-41F5-BEF0-CE7FE8E7AB9C}"/>
                </c:ext>
              </c:extLst>
            </c:dLbl>
            <c:dLbl>
              <c:idx val="5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6F5-41F5-BEF0-CE7FE8E7AB9C}"/>
                </c:ext>
              </c:extLst>
            </c:dLbl>
            <c:dLbl>
              <c:idx val="6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6F5-41F5-BEF0-CE7FE8E7AB9C}"/>
                </c:ext>
              </c:extLst>
            </c:dLbl>
            <c:dLbl>
              <c:idx val="7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6F5-41F5-BEF0-CE7FE8E7AB9C}"/>
                </c:ext>
              </c:extLst>
            </c:dLbl>
            <c:dLbl>
              <c:idx val="8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6F5-41F5-BEF0-CE7FE8E7AB9C}"/>
                </c:ext>
              </c:extLst>
            </c:dLbl>
            <c:dLbl>
              <c:idx val="10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6F5-41F5-BEF0-CE7FE8E7AB9C}"/>
                </c:ext>
              </c:extLst>
            </c:dLbl>
            <c:dLbl>
              <c:idx val="11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6F5-41F5-BEF0-CE7FE8E7AB9C}"/>
                </c:ext>
              </c:extLst>
            </c:dLbl>
            <c:dLbl>
              <c:idx val="12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6F5-41F5-BEF0-CE7FE8E7AB9C}"/>
                </c:ext>
              </c:extLst>
            </c:dLbl>
            <c:dLbl>
              <c:idx val="13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6F5-41F5-BEF0-CE7FE8E7AB9C}"/>
                </c:ext>
              </c:extLst>
            </c:dLbl>
            <c:dLbl>
              <c:idx val="14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C6F5-41F5-BEF0-CE7FE8E7AB9C}"/>
                </c:ext>
              </c:extLst>
            </c:dLbl>
            <c:dLbl>
              <c:idx val="15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C6F5-41F5-BEF0-CE7FE8E7AB9C}"/>
                </c:ext>
              </c:extLst>
            </c:dLbl>
            <c:dLbl>
              <c:idx val="17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C6F5-41F5-BEF0-CE7FE8E7AB9C}"/>
                </c:ext>
              </c:extLst>
            </c:dLbl>
            <c:dLbl>
              <c:idx val="18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C6F5-41F5-BEF0-CE7FE8E7AB9C}"/>
                </c:ext>
              </c:extLst>
            </c:dLbl>
            <c:dLbl>
              <c:idx val="19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C6F5-41F5-BEF0-CE7FE8E7AB9C}"/>
                </c:ext>
              </c:extLst>
            </c:dLbl>
            <c:dLbl>
              <c:idx val="20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C6F5-41F5-BEF0-CE7FE8E7AB9C}"/>
                </c:ext>
              </c:extLst>
            </c:dLbl>
            <c:dLbl>
              <c:idx val="21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C6F5-41F5-BEF0-CE7FE8E7AB9C}"/>
                </c:ext>
              </c:extLst>
            </c:dLbl>
            <c:dLbl>
              <c:idx val="23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C6F5-41F5-BEF0-CE7FE8E7AB9C}"/>
                </c:ext>
              </c:extLst>
            </c:dLbl>
            <c:dLbl>
              <c:idx val="24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C6F5-41F5-BEF0-CE7FE8E7AB9C}"/>
                </c:ext>
              </c:extLst>
            </c:dLbl>
            <c:dLbl>
              <c:idx val="25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C6F5-41F5-BEF0-CE7FE8E7AB9C}"/>
                </c:ext>
              </c:extLst>
            </c:dLbl>
            <c:dLbl>
              <c:idx val="26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C6F5-41F5-BEF0-CE7FE8E7AB9C}"/>
                </c:ext>
              </c:extLst>
            </c:dLbl>
            <c:dLbl>
              <c:idx val="27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C6F5-41F5-BEF0-CE7FE8E7AB9C}"/>
                </c:ext>
              </c:extLst>
            </c:dLbl>
            <c:dLbl>
              <c:idx val="28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C6F5-41F5-BEF0-CE7FE8E7AB9C}"/>
                </c:ext>
              </c:extLst>
            </c:dLbl>
            <c:dLbl>
              <c:idx val="29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C6F5-41F5-BEF0-CE7FE8E7AB9C}"/>
                </c:ext>
              </c:extLst>
            </c:dLbl>
            <c:dLbl>
              <c:idx val="30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C6F5-41F5-BEF0-CE7FE8E7AB9C}"/>
                </c:ext>
              </c:extLst>
            </c:dLbl>
            <c:dLbl>
              <c:idx val="31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Open Sans"/>
                      <a:cs typeface="Open San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C6F5-41F5-BEF0-CE7FE8E7AB9C}"/>
                </c:ext>
              </c:extLst>
            </c:dLbl>
            <c:dLbl>
              <c:idx val="32"/>
              <c:layout>
                <c:manualLayout>
                  <c:x val="0"/>
                  <c:y val="-4.84018264840182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2C5E28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C6F5-41F5-BEF0-CE7FE8E7AB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AG$1</c:f>
              <c:numCache>
                <c:formatCode>General</c:formatCode>
                <c:ptCount val="33"/>
                <c:pt idx="0">
                  <c:v>20.903966666666665</c:v>
                </c:pt>
                <c:pt idx="1">
                  <c:v>21.737141666666663</c:v>
                </c:pt>
                <c:pt idx="2">
                  <c:v>23.953925000000002</c:v>
                </c:pt>
                <c:pt idx="3">
                  <c:v>27.452575</c:v>
                </c:pt>
                <c:pt idx="4">
                  <c:v>29.17906666666666</c:v>
                </c:pt>
                <c:pt idx="5">
                  <c:v>35.131750000000004</c:v>
                </c:pt>
                <c:pt idx="6">
                  <c:v>44.139949999999999</c:v>
                </c:pt>
                <c:pt idx="7">
                  <c:v>51.914066666666663</c:v>
                </c:pt>
                <c:pt idx="8">
                  <c:v>54.703474999999997</c:v>
                </c:pt>
                <c:pt idx="10">
                  <c:v>56.1663</c:v>
                </c:pt>
                <c:pt idx="11">
                  <c:v>56.462400000000002</c:v>
                </c:pt>
                <c:pt idx="12">
                  <c:v>56.623600000000003</c:v>
                </c:pt>
                <c:pt idx="13">
                  <c:v>56.9193</c:v>
                </c:pt>
                <c:pt idx="14">
                  <c:v>57.050400000000003</c:v>
                </c:pt>
                <c:pt idx="15">
                  <c:v>57.326500000000003</c:v>
                </c:pt>
                <c:pt idx="16">
                  <c:v>77.519199999999998</c:v>
                </c:pt>
                <c:pt idx="17">
                  <c:v>107.0682</c:v>
                </c:pt>
                <c:pt idx="18">
                  <c:v>115.9662</c:v>
                </c:pt>
                <c:pt idx="19">
                  <c:v>120.10039999999999</c:v>
                </c:pt>
                <c:pt idx="20">
                  <c:v>124.18389999999999</c:v>
                </c:pt>
                <c:pt idx="21">
                  <c:v>125.0975</c:v>
                </c:pt>
                <c:pt idx="23">
                  <c:v>125.4169</c:v>
                </c:pt>
                <c:pt idx="24">
                  <c:v>126.2308</c:v>
                </c:pt>
                <c:pt idx="25">
                  <c:v>129.88030000000001</c:v>
                </c:pt>
                <c:pt idx="26">
                  <c:v>131.34299999999999</c:v>
                </c:pt>
                <c:pt idx="27">
                  <c:v>133.8203</c:v>
                </c:pt>
                <c:pt idx="28">
                  <c:v>135.28749999999999</c:v>
                </c:pt>
                <c:pt idx="29">
                  <c:v>137.94839999999999</c:v>
                </c:pt>
                <c:pt idx="30">
                  <c:v>141.39259999999999</c:v>
                </c:pt>
                <c:pt idx="31">
                  <c:v>146.40600000000001</c:v>
                </c:pt>
                <c:pt idx="32">
                  <c:v>145.0004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C6F5-41F5-BEF0-CE7FE8E7AB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49369511"/>
        <c:axId val="1"/>
      </c:lineChart>
      <c:catAx>
        <c:axId val="649369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6.4060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4936951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313997915943037E-2"/>
          <c:y val="0.17723076923076922"/>
          <c:w val="0.94650920458492527"/>
          <c:h val="0.7193846153846154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2C5E28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032-4B6F-88E1-CE6A086DAC4B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032-4B6F-88E1-CE6A086DAC4B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032-4B6F-88E1-CE6A086DAC4B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032-4B6F-88E1-CE6A086DAC4B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032-4B6F-88E1-CE6A086DAC4B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032-4B6F-88E1-CE6A086DAC4B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032-4B6F-88E1-CE6A086DAC4B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032-4B6F-88E1-CE6A086DAC4B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032-4B6F-88E1-CE6A086DAC4B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032-4B6F-88E1-CE6A086DAC4B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2C5E28"/>
                </a:solidFill>
                <a:ln w="9525" cmpd="sng" algn="ctr">
                  <a:solidFill>
                    <a:srgbClr val="2C5E2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032-4B6F-88E1-CE6A086DAC4B}"/>
              </c:ext>
            </c:extLst>
          </c:dPt>
          <c:dLbls>
            <c:dLbl>
              <c:idx val="0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032-4B6F-88E1-CE6A086DAC4B}"/>
                </c:ext>
              </c:extLst>
            </c:dLbl>
            <c:dLbl>
              <c:idx val="1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032-4B6F-88E1-CE6A086DAC4B}"/>
                </c:ext>
              </c:extLst>
            </c:dLbl>
            <c:dLbl>
              <c:idx val="2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032-4B6F-88E1-CE6A086DAC4B}"/>
                </c:ext>
              </c:extLst>
            </c:dLbl>
            <c:dLbl>
              <c:idx val="3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032-4B6F-88E1-CE6A086DAC4B}"/>
                </c:ext>
              </c:extLst>
            </c:dLbl>
            <c:dLbl>
              <c:idx val="4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032-4B6F-88E1-CE6A086DAC4B}"/>
                </c:ext>
              </c:extLst>
            </c:dLbl>
            <c:dLbl>
              <c:idx val="5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032-4B6F-88E1-CE6A086DAC4B}"/>
                </c:ext>
              </c:extLst>
            </c:dLbl>
            <c:dLbl>
              <c:idx val="6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032-4B6F-88E1-CE6A086DAC4B}"/>
                </c:ext>
              </c:extLst>
            </c:dLbl>
            <c:dLbl>
              <c:idx val="7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032-4B6F-88E1-CE6A086DAC4B}"/>
                </c:ext>
              </c:extLst>
            </c:dLbl>
            <c:dLbl>
              <c:idx val="8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032-4B6F-88E1-CE6A086DAC4B}"/>
                </c:ext>
              </c:extLst>
            </c:dLbl>
            <c:dLbl>
              <c:idx val="9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032-4B6F-88E1-CE6A086DAC4B}"/>
                </c:ext>
              </c:extLst>
            </c:dLbl>
            <c:dLbl>
              <c:idx val="10"/>
              <c:layout>
                <c:manualLayout>
                  <c:x val="0"/>
                  <c:y val="-7.4461538461538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032-4B6F-88E1-CE6A086DAC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9.5690000000000008</c:v>
                </c:pt>
                <c:pt idx="1">
                  <c:v>6.6280000000000001</c:v>
                </c:pt>
                <c:pt idx="2">
                  <c:v>10.686999999999999</c:v>
                </c:pt>
                <c:pt idx="3">
                  <c:v>13.833</c:v>
                </c:pt>
                <c:pt idx="4">
                  <c:v>15.81</c:v>
                </c:pt>
                <c:pt idx="5">
                  <c:v>20.353999999999999</c:v>
                </c:pt>
                <c:pt idx="6">
                  <c:v>26.794</c:v>
                </c:pt>
                <c:pt idx="7">
                  <c:v>33.938000000000002</c:v>
                </c:pt>
                <c:pt idx="8">
                  <c:v>30.219000000000001</c:v>
                </c:pt>
                <c:pt idx="9">
                  <c:v>21.745999999999999</c:v>
                </c:pt>
                <c:pt idx="10">
                  <c:v>21.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0032-4B6F-88E1-CE6A086DAC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7970064"/>
        <c:axId val="1"/>
      </c:lineChart>
      <c:catAx>
        <c:axId val="1157970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3.9380000000000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5797006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288941736028535E-3"/>
          <c:y val="8.7403598971722368E-2"/>
          <c:w val="0.98454221165279432"/>
          <c:h val="0.8517566409597258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239931448157669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8C6-4E37-BED4-C7076C398D24}"/>
                </c:ext>
              </c:extLst>
            </c:dLbl>
            <c:dLbl>
              <c:idx val="1"/>
              <c:layout>
                <c:manualLayout>
                  <c:x val="0"/>
                  <c:y val="-7.8834618680377042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8C6-4E37-BED4-C7076C398D24}"/>
                </c:ext>
              </c:extLst>
            </c:dLbl>
            <c:dLbl>
              <c:idx val="2"/>
              <c:layout>
                <c:manualLayout>
                  <c:x val="0"/>
                  <c:y val="-0.1109682947729220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8C6-4E37-BED4-C7076C398D24}"/>
                </c:ext>
              </c:extLst>
            </c:dLbl>
            <c:dLbl>
              <c:idx val="3"/>
              <c:layout>
                <c:manualLayout>
                  <c:x val="0"/>
                  <c:y val="-0.1358183376178234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8C6-4E37-BED4-C7076C398D24}"/>
                </c:ext>
              </c:extLst>
            </c:dLbl>
            <c:dLbl>
              <c:idx val="4"/>
              <c:layout>
                <c:manualLayout>
                  <c:x val="0"/>
                  <c:y val="-0.15167095115681234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8C6-4E37-BED4-C7076C398D24}"/>
                </c:ext>
              </c:extLst>
            </c:dLbl>
            <c:dLbl>
              <c:idx val="5"/>
              <c:layout>
                <c:manualLayout>
                  <c:x val="0"/>
                  <c:y val="-0.18723221936589546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8C6-4E37-BED4-C7076C398D24}"/>
                </c:ext>
              </c:extLst>
            </c:dLbl>
            <c:dLbl>
              <c:idx val="6"/>
              <c:layout>
                <c:manualLayout>
                  <c:x val="0"/>
                  <c:y val="-0.23821765209940018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8C6-4E37-BED4-C7076C398D24}"/>
                </c:ext>
              </c:extLst>
            </c:dLbl>
            <c:dLbl>
              <c:idx val="7"/>
              <c:layout>
                <c:manualLayout>
                  <c:x val="0"/>
                  <c:y val="-0.29477292202227934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8C6-4E37-BED4-C7076C398D24}"/>
                </c:ext>
              </c:extLst>
            </c:dLbl>
            <c:dLbl>
              <c:idx val="8"/>
              <c:layout>
                <c:manualLayout>
                  <c:x val="0"/>
                  <c:y val="-0.26520994001713794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8C6-4E37-BED4-C7076C398D24}"/>
                </c:ext>
              </c:extLst>
            </c:dLbl>
            <c:dLbl>
              <c:idx val="9"/>
              <c:layout>
                <c:manualLayout>
                  <c:x val="0"/>
                  <c:y val="-0.1983718937446444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8C6-4E37-BED4-C7076C398D24}"/>
                </c:ext>
              </c:extLst>
            </c:dLbl>
            <c:dLbl>
              <c:idx val="10"/>
              <c:layout>
                <c:manualLayout>
                  <c:x val="0"/>
                  <c:y val="-0.1966580976863753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8C6-4E37-BED4-C7076C398D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9.5690000000000008</c:v>
                </c:pt>
                <c:pt idx="1">
                  <c:v>6.6280000000000001</c:v>
                </c:pt>
                <c:pt idx="2">
                  <c:v>10.686999999999999</c:v>
                </c:pt>
                <c:pt idx="3">
                  <c:v>13.833</c:v>
                </c:pt>
                <c:pt idx="4">
                  <c:v>15.81</c:v>
                </c:pt>
                <c:pt idx="5">
                  <c:v>20.353999999999999</c:v>
                </c:pt>
                <c:pt idx="6">
                  <c:v>26.794</c:v>
                </c:pt>
                <c:pt idx="7">
                  <c:v>33.938000000000002</c:v>
                </c:pt>
                <c:pt idx="8">
                  <c:v>30.219000000000001</c:v>
                </c:pt>
                <c:pt idx="9">
                  <c:v>21.745999999999999</c:v>
                </c:pt>
                <c:pt idx="10">
                  <c:v>21.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8C6-4E37-BED4-C7076C398D24}"/>
            </c:ext>
          </c:extLst>
        </c:ser>
        <c:ser>
          <c:idx val="1"/>
          <c:order val="1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5.269922879177377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8C6-4E37-BED4-C7076C398D24}"/>
                </c:ext>
              </c:extLst>
            </c:dLbl>
            <c:dLbl>
              <c:idx val="2"/>
              <c:layout>
                <c:manualLayout>
                  <c:x val="0"/>
                  <c:y val="-0.1071122536418166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8C6-4E37-BED4-C7076C398D24}"/>
                </c:ext>
              </c:extLst>
            </c:dLbl>
            <c:dLbl>
              <c:idx val="3"/>
              <c:layout>
                <c:manualLayout>
                  <c:x val="0"/>
                  <c:y val="-0.14181662382176521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8C6-4E37-BED4-C7076C398D24}"/>
                </c:ext>
              </c:extLst>
            </c:dLbl>
            <c:dLbl>
              <c:idx val="4"/>
              <c:layout>
                <c:manualLayout>
                  <c:x val="0"/>
                  <c:y val="-7.6263924592973431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8C6-4E37-BED4-C7076C398D24}"/>
                </c:ext>
              </c:extLst>
            </c:dLbl>
            <c:dLbl>
              <c:idx val="5"/>
              <c:layout>
                <c:manualLayout>
                  <c:x val="0"/>
                  <c:y val="-0.1876606683804627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8C6-4E37-BED4-C7076C398D24}"/>
                </c:ext>
              </c:extLst>
            </c:dLbl>
            <c:dLbl>
              <c:idx val="6"/>
              <c:layout>
                <c:manualLayout>
                  <c:x val="0"/>
                  <c:y val="-0.2287917737789203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18C6-4E37-BED4-C7076C398D24}"/>
                </c:ext>
              </c:extLst>
            </c:dLbl>
            <c:dLbl>
              <c:idx val="7"/>
              <c:layout>
                <c:manualLayout>
                  <c:x val="0"/>
                  <c:y val="-0.1653813196229648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18C6-4E37-BED4-C7076C398D24}"/>
                </c:ext>
              </c:extLst>
            </c:dLbl>
            <c:dLbl>
              <c:idx val="8"/>
              <c:layout>
                <c:manualLayout>
                  <c:x val="0"/>
                  <c:y val="-6.8980291345329903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18C6-4E37-BED4-C7076C398D24}"/>
                </c:ext>
              </c:extLst>
            </c:dLbl>
            <c:dLbl>
              <c:idx val="9"/>
              <c:layout>
                <c:manualLayout>
                  <c:x val="0"/>
                  <c:y val="-0.45244215938303339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18C6-4E37-BED4-C7076C398D24}"/>
                </c:ext>
              </c:extLst>
            </c:dLbl>
            <c:dLbl>
              <c:idx val="10"/>
              <c:layout>
                <c:manualLayout>
                  <c:x val="0"/>
                  <c:y val="-0.149528706083976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18C6-4E37-BED4-C7076C398D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1">
                  <c:v>3.9857267918847805</c:v>
                </c:pt>
                <c:pt idx="2">
                  <c:v>10.198136292835214</c:v>
                </c:pt>
                <c:pt idx="3">
                  <c:v>14.605748327257428</c:v>
                </c:pt>
                <c:pt idx="4">
                  <c:v>6.2889971766461272</c:v>
                </c:pt>
                <c:pt idx="5">
                  <c:v>20.400526861722824</c:v>
                </c:pt>
                <c:pt idx="6">
                  <c:v>25.641193507297523</c:v>
                </c:pt>
                <c:pt idx="7">
                  <c:v>17.612427441958278</c:v>
                </c:pt>
                <c:pt idx="8">
                  <c:v>5.3731262303986949</c:v>
                </c:pt>
                <c:pt idx="9">
                  <c:v>53.933532863619128</c:v>
                </c:pt>
                <c:pt idx="10">
                  <c:v>1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18C6-4E37-BED4-C7076C398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262119784"/>
        <c:axId val="1"/>
      </c:barChart>
      <c:catAx>
        <c:axId val="1262119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.9335328636191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62119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53911633563032E-2"/>
          <c:y val="0.1204766107678729"/>
          <c:w val="0.97892176732873937"/>
          <c:h val="0.7943512797881729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2C5E2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987643424536627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3A9-4A87-8400-79AAFB280D08}"/>
                </c:ext>
              </c:extLst>
            </c:dLbl>
            <c:dLbl>
              <c:idx val="1"/>
              <c:layout>
                <c:manualLayout>
                  <c:x val="0"/>
                  <c:y val="-0.1028243601059135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3A9-4A87-8400-79AAFB280D08}"/>
                </c:ext>
              </c:extLst>
            </c:dLbl>
            <c:dLbl>
              <c:idx val="2"/>
              <c:layout>
                <c:manualLayout>
                  <c:x val="0"/>
                  <c:y val="-0.2369814651368049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3A9-4A87-8400-79AAFB280D08}"/>
                </c:ext>
              </c:extLst>
            </c:dLbl>
            <c:dLbl>
              <c:idx val="3"/>
              <c:layout>
                <c:manualLayout>
                  <c:x val="0"/>
                  <c:y val="-0.31685789938217124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3A9-4A87-8400-79AAFB280D0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7.100000000000001</c:v>
                </c:pt>
                <c:pt idx="1">
                  <c:v>25.5</c:v>
                </c:pt>
                <c:pt idx="2">
                  <c:v>76</c:v>
                </c:pt>
                <c:pt idx="3">
                  <c:v>10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3A9-4A87-8400-79AAFB280D08}"/>
            </c:ext>
          </c:extLst>
        </c:ser>
        <c:ser>
          <c:idx val="1"/>
          <c:order val="1"/>
          <c:spPr>
            <a:solidFill>
              <a:srgbClr val="32CD3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547219770520741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3A9-4A87-8400-79AAFB280D08}"/>
                </c:ext>
              </c:extLst>
            </c:dLbl>
            <c:dLbl>
              <c:idx val="1"/>
              <c:layout>
                <c:manualLayout>
                  <c:x val="0"/>
                  <c:y val="-0.10547219770520741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3A9-4A87-8400-79AAFB280D08}"/>
                </c:ext>
              </c:extLst>
            </c:dLbl>
            <c:dLbl>
              <c:idx val="2"/>
              <c:layout>
                <c:manualLayout>
                  <c:x val="0"/>
                  <c:y val="-0.2577228596646072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3A9-4A87-8400-79AAFB280D08}"/>
                </c:ext>
              </c:extLst>
            </c:dLbl>
            <c:dLbl>
              <c:idx val="3"/>
              <c:layout>
                <c:manualLayout>
                  <c:x val="0"/>
                  <c:y val="-0.4324801412180053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3A9-4A87-8400-79AAFB280D0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6.5</c:v>
                </c:pt>
                <c:pt idx="1">
                  <c:v>26.400000000000002</c:v>
                </c:pt>
                <c:pt idx="2">
                  <c:v>83.8</c:v>
                </c:pt>
                <c:pt idx="3">
                  <c:v>149.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3A9-4A87-8400-79AAFB280D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58255768"/>
        <c:axId val="1"/>
      </c:barChart>
      <c:catAx>
        <c:axId val="16582557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9.700000000000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582557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20125786163521E-2"/>
          <c:y val="8.1016299137104508E-2"/>
          <c:w val="0.97955974842767291"/>
          <c:h val="0.862895493767977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5359539789069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D4A-4C75-A03B-0A393D121DB7}"/>
                </c:ext>
              </c:extLst>
            </c:dLbl>
            <c:dLbl>
              <c:idx val="1"/>
              <c:layout>
                <c:manualLayout>
                  <c:x val="0"/>
                  <c:y val="-0.340843720038350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D4A-4C75-A03B-0A393D121DB7}"/>
                </c:ext>
              </c:extLst>
            </c:dLbl>
            <c:dLbl>
              <c:idx val="2"/>
              <c:layout>
                <c:manualLayout>
                  <c:x val="0"/>
                  <c:y val="-0.367209971236816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D4A-4C75-A03B-0A393D121DB7}"/>
                </c:ext>
              </c:extLst>
            </c:dLbl>
            <c:dLbl>
              <c:idx val="3"/>
              <c:layout>
                <c:manualLayout>
                  <c:x val="0"/>
                  <c:y val="-0.379674017257909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D4A-4C75-A03B-0A393D121DB7}"/>
                </c:ext>
              </c:extLst>
            </c:dLbl>
            <c:dLbl>
              <c:idx val="4"/>
              <c:layout>
                <c:manualLayout>
                  <c:x val="0"/>
                  <c:y val="-0.39165867689357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D4A-4C75-A03B-0A393D121DB7}"/>
                </c:ext>
              </c:extLst>
            </c:dLbl>
            <c:dLbl>
              <c:idx val="5"/>
              <c:layout>
                <c:manualLayout>
                  <c:x val="0"/>
                  <c:y val="-0.39405560882070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D4A-4C75-A03B-0A393D121DB7}"/>
                </c:ext>
              </c:extLst>
            </c:dLbl>
            <c:dLbl>
              <c:idx val="6"/>
              <c:layout>
                <c:manualLayout>
                  <c:x val="0"/>
                  <c:y val="-0.395014381591562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D4A-4C75-A03B-0A393D121DB7}"/>
                </c:ext>
              </c:extLst>
            </c:dLbl>
            <c:dLbl>
              <c:idx val="7"/>
              <c:layout>
                <c:manualLayout>
                  <c:x val="0"/>
                  <c:y val="-0.397411313518696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D4A-4C75-A03B-0A393D121DB7}"/>
                </c:ext>
              </c:extLst>
            </c:dLbl>
            <c:dLbl>
              <c:idx val="8"/>
              <c:layout>
                <c:manualLayout>
                  <c:x val="0"/>
                  <c:y val="-0.408437200383509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D4A-4C75-A03B-0A393D121DB7}"/>
                </c:ext>
              </c:extLst>
            </c:dLbl>
            <c:dLbl>
              <c:idx val="9"/>
              <c:layout>
                <c:manualLayout>
                  <c:x val="0"/>
                  <c:y val="-0.412751677852349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D4A-4C75-A03B-0A393D121DB7}"/>
                </c:ext>
              </c:extLst>
            </c:dLbl>
            <c:dLbl>
              <c:idx val="10"/>
              <c:layout>
                <c:manualLayout>
                  <c:x val="0"/>
                  <c:y val="-0.419463087248322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D4A-4C75-A03B-0A393D121DB7}"/>
                </c:ext>
              </c:extLst>
            </c:dLbl>
            <c:dLbl>
              <c:idx val="11"/>
              <c:layout>
                <c:manualLayout>
                  <c:x val="0"/>
                  <c:y val="-0.423777564717162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D4A-4C75-A03B-0A393D121DB7}"/>
                </c:ext>
              </c:extLst>
            </c:dLbl>
            <c:dLbl>
              <c:idx val="12"/>
              <c:layout>
                <c:manualLayout>
                  <c:x val="0"/>
                  <c:y val="-0.431927133269415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D4A-4C75-A03B-0A393D121DB7}"/>
                </c:ext>
              </c:extLst>
            </c:dLbl>
            <c:dLbl>
              <c:idx val="13"/>
              <c:layout>
                <c:manualLayout>
                  <c:x val="0"/>
                  <c:y val="-0.441994247363374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D4A-4C75-A03B-0A393D121DB7}"/>
                </c:ext>
              </c:extLst>
            </c:dLbl>
            <c:dLbl>
              <c:idx val="14"/>
              <c:layout>
                <c:manualLayout>
                  <c:x val="0"/>
                  <c:y val="-0.456855225311601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D4A-4C75-A03B-0A393D121DB7}"/>
                </c:ext>
              </c:extLst>
            </c:dLbl>
            <c:dLbl>
              <c:idx val="15"/>
              <c:layout>
                <c:manualLayout>
                  <c:x val="0"/>
                  <c:y val="-0.4530201342281879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Open Sans"/>
                      <a:ea typeface="+mn-ea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D4A-4C75-A03B-0A393D121DB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P$1</c:f>
              <c:numCache>
                <c:formatCode>General</c:formatCode>
                <c:ptCount val="16"/>
                <c:pt idx="0">
                  <c:v>5000000</c:v>
                </c:pt>
                <c:pt idx="1">
                  <c:v>6905899</c:v>
                </c:pt>
                <c:pt idx="2">
                  <c:v>7479820</c:v>
                </c:pt>
                <c:pt idx="3">
                  <c:v>7746476</c:v>
                </c:pt>
                <c:pt idx="4">
                  <c:v>8009862</c:v>
                </c:pt>
                <c:pt idx="5">
                  <c:v>8068789</c:v>
                </c:pt>
                <c:pt idx="6">
                  <c:v>8089390</c:v>
                </c:pt>
                <c:pt idx="7">
                  <c:v>8141887</c:v>
                </c:pt>
                <c:pt idx="8">
                  <c:v>8377279</c:v>
                </c:pt>
                <c:pt idx="9">
                  <c:v>8471624</c:v>
                </c:pt>
                <c:pt idx="10">
                  <c:v>8631409</c:v>
                </c:pt>
                <c:pt idx="11">
                  <c:v>8726044</c:v>
                </c:pt>
                <c:pt idx="12">
                  <c:v>8897672</c:v>
                </c:pt>
                <c:pt idx="13">
                  <c:v>9119823</c:v>
                </c:pt>
                <c:pt idx="14">
                  <c:v>9443187</c:v>
                </c:pt>
                <c:pt idx="15">
                  <c:v>93525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AD4A-4C75-A03B-0A393D121D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7172456"/>
        <c:axId val="1"/>
      </c:barChart>
      <c:catAx>
        <c:axId val="2087172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44318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87172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28DA73-3F97-4A24-B313-F38580E3146E}" type="doc">
      <dgm:prSet loTypeId="urn:microsoft.com/office/officeart/2005/8/layout/process1" loCatId="process" qsTypeId="urn:microsoft.com/office/officeart/2005/8/quickstyle/simple1" qsCatId="simple" csTypeId="urn:microsoft.com/office/officeart/2005/8/colors/accent3_1" csCatId="accent3" phldr="1"/>
      <dgm:spPr/>
    </dgm:pt>
    <dgm:pt modelId="{A4802F17-7337-4D67-BB68-54A206C3CD55}">
      <dgm:prSet phldrT="[Text]"/>
      <dgm:spPr/>
      <dgm:t>
        <a:bodyPr/>
        <a:lstStyle/>
        <a:p>
          <a:r>
            <a:rPr lang="en-US" dirty="0"/>
            <a:t>Define a Trigger Point</a:t>
          </a:r>
        </a:p>
      </dgm:t>
    </dgm:pt>
    <dgm:pt modelId="{E0F45F08-9ABD-4C02-B29F-391AFBCD5D61}" type="parTrans" cxnId="{161B933F-9EB7-472B-8E76-311A677E5D30}">
      <dgm:prSet/>
      <dgm:spPr/>
      <dgm:t>
        <a:bodyPr/>
        <a:lstStyle/>
        <a:p>
          <a:endParaRPr lang="en-US"/>
        </a:p>
      </dgm:t>
    </dgm:pt>
    <dgm:pt modelId="{7BEDAF3C-6E1D-4F2D-9EAA-334D2B1738AF}" type="sibTrans" cxnId="{161B933F-9EB7-472B-8E76-311A677E5D30}">
      <dgm:prSet/>
      <dgm:spPr/>
      <dgm:t>
        <a:bodyPr/>
        <a:lstStyle/>
        <a:p>
          <a:endParaRPr lang="en-US"/>
        </a:p>
      </dgm:t>
    </dgm:pt>
    <dgm:pt modelId="{78B36255-5D7D-4272-87F3-A52934960AE6}">
      <dgm:prSet phldrT="[Text]"/>
      <dgm:spPr/>
      <dgm:t>
        <a:bodyPr/>
        <a:lstStyle/>
        <a:p>
          <a:r>
            <a:rPr lang="en-US" dirty="0"/>
            <a:t>Define a Response</a:t>
          </a:r>
        </a:p>
      </dgm:t>
    </dgm:pt>
    <dgm:pt modelId="{5B285F38-F903-4B1D-94DB-436709A68A1C}" type="parTrans" cxnId="{6B85596B-EF40-43A8-94AC-EAE09E599E3E}">
      <dgm:prSet/>
      <dgm:spPr/>
      <dgm:t>
        <a:bodyPr/>
        <a:lstStyle/>
        <a:p>
          <a:endParaRPr lang="en-US"/>
        </a:p>
      </dgm:t>
    </dgm:pt>
    <dgm:pt modelId="{72ABAB38-C5B2-4936-BBFA-5C52DED03B39}" type="sibTrans" cxnId="{6B85596B-EF40-43A8-94AC-EAE09E599E3E}">
      <dgm:prSet/>
      <dgm:spPr/>
      <dgm:t>
        <a:bodyPr/>
        <a:lstStyle/>
        <a:p>
          <a:endParaRPr lang="en-US"/>
        </a:p>
      </dgm:t>
    </dgm:pt>
    <dgm:pt modelId="{DEBDB4F5-66B3-43EF-8718-CACF9A49183A}">
      <dgm:prSet phldrT="[Text]"/>
      <dgm:spPr/>
      <dgm:t>
        <a:bodyPr/>
        <a:lstStyle/>
        <a:p>
          <a:r>
            <a:rPr lang="en-US" dirty="0"/>
            <a:t>Set a Timeframe and Monitor</a:t>
          </a:r>
        </a:p>
      </dgm:t>
    </dgm:pt>
    <dgm:pt modelId="{DAB96D06-AC71-4A85-AC19-26CD2101815E}" type="parTrans" cxnId="{1BC57761-8406-46DC-9F15-F83B27A372C6}">
      <dgm:prSet/>
      <dgm:spPr/>
      <dgm:t>
        <a:bodyPr/>
        <a:lstStyle/>
        <a:p>
          <a:endParaRPr lang="en-US"/>
        </a:p>
      </dgm:t>
    </dgm:pt>
    <dgm:pt modelId="{9382D30A-9D9B-4390-8274-8728BCE96A19}" type="sibTrans" cxnId="{1BC57761-8406-46DC-9F15-F83B27A372C6}">
      <dgm:prSet/>
      <dgm:spPr/>
      <dgm:t>
        <a:bodyPr/>
        <a:lstStyle/>
        <a:p>
          <a:endParaRPr lang="en-US"/>
        </a:p>
      </dgm:t>
    </dgm:pt>
    <dgm:pt modelId="{8648C817-3A8B-48D7-B837-084A826C5392}">
      <dgm:prSet phldrT="[Text]"/>
      <dgm:spPr/>
      <dgm:t>
        <a:bodyPr/>
        <a:lstStyle/>
        <a:p>
          <a:r>
            <a:rPr lang="en-US" dirty="0"/>
            <a:t>Plan Your Exit</a:t>
          </a:r>
        </a:p>
      </dgm:t>
    </dgm:pt>
    <dgm:pt modelId="{93619EDB-6EB3-4363-9CB4-D27C1AD9CE7D}" type="parTrans" cxnId="{6C94456E-C7D5-4437-B017-7FBC255D1BDB}">
      <dgm:prSet/>
      <dgm:spPr/>
      <dgm:t>
        <a:bodyPr/>
        <a:lstStyle/>
        <a:p>
          <a:endParaRPr lang="en-US"/>
        </a:p>
      </dgm:t>
    </dgm:pt>
    <dgm:pt modelId="{957EC91E-BBBE-4D3A-A69F-E7254F62779B}" type="sibTrans" cxnId="{6C94456E-C7D5-4437-B017-7FBC255D1BDB}">
      <dgm:prSet/>
      <dgm:spPr/>
      <dgm:t>
        <a:bodyPr/>
        <a:lstStyle/>
        <a:p>
          <a:endParaRPr lang="en-US"/>
        </a:p>
      </dgm:t>
    </dgm:pt>
    <dgm:pt modelId="{F0A43B8A-826E-4FCB-946B-4C1CA873F676}" type="pres">
      <dgm:prSet presAssocID="{2028DA73-3F97-4A24-B313-F38580E3146E}" presName="Name0" presStyleCnt="0">
        <dgm:presLayoutVars>
          <dgm:dir/>
          <dgm:resizeHandles val="exact"/>
        </dgm:presLayoutVars>
      </dgm:prSet>
      <dgm:spPr/>
    </dgm:pt>
    <dgm:pt modelId="{71EDBC54-C3B6-450E-B7AC-9A650B37F798}" type="pres">
      <dgm:prSet presAssocID="{A4802F17-7337-4D67-BB68-54A206C3CD55}" presName="node" presStyleLbl="node1" presStyleIdx="0" presStyleCnt="4">
        <dgm:presLayoutVars>
          <dgm:bulletEnabled val="1"/>
        </dgm:presLayoutVars>
      </dgm:prSet>
      <dgm:spPr/>
    </dgm:pt>
    <dgm:pt modelId="{A0570437-9CBC-4DA8-BAC8-F0A228EA4974}" type="pres">
      <dgm:prSet presAssocID="{7BEDAF3C-6E1D-4F2D-9EAA-334D2B1738AF}" presName="sibTrans" presStyleLbl="sibTrans2D1" presStyleIdx="0" presStyleCnt="3"/>
      <dgm:spPr/>
    </dgm:pt>
    <dgm:pt modelId="{4F764DDB-7672-4177-8F5A-6C4F7FF6AB66}" type="pres">
      <dgm:prSet presAssocID="{7BEDAF3C-6E1D-4F2D-9EAA-334D2B1738AF}" presName="connectorText" presStyleLbl="sibTrans2D1" presStyleIdx="0" presStyleCnt="3"/>
      <dgm:spPr/>
    </dgm:pt>
    <dgm:pt modelId="{BCBEF477-D1E4-4F43-95BF-949C15482887}" type="pres">
      <dgm:prSet presAssocID="{78B36255-5D7D-4272-87F3-A52934960AE6}" presName="node" presStyleLbl="node1" presStyleIdx="1" presStyleCnt="4">
        <dgm:presLayoutVars>
          <dgm:bulletEnabled val="1"/>
        </dgm:presLayoutVars>
      </dgm:prSet>
      <dgm:spPr/>
    </dgm:pt>
    <dgm:pt modelId="{53A868FA-2C81-4FD3-87F6-CDFC5F582E14}" type="pres">
      <dgm:prSet presAssocID="{72ABAB38-C5B2-4936-BBFA-5C52DED03B39}" presName="sibTrans" presStyleLbl="sibTrans2D1" presStyleIdx="1" presStyleCnt="3"/>
      <dgm:spPr/>
    </dgm:pt>
    <dgm:pt modelId="{24CF55E7-C951-44E5-AC67-3DC50E60AC15}" type="pres">
      <dgm:prSet presAssocID="{72ABAB38-C5B2-4936-BBFA-5C52DED03B39}" presName="connectorText" presStyleLbl="sibTrans2D1" presStyleIdx="1" presStyleCnt="3"/>
      <dgm:spPr/>
    </dgm:pt>
    <dgm:pt modelId="{6D1853B6-3459-4773-9C49-BED6426EC137}" type="pres">
      <dgm:prSet presAssocID="{DEBDB4F5-66B3-43EF-8718-CACF9A49183A}" presName="node" presStyleLbl="node1" presStyleIdx="2" presStyleCnt="4">
        <dgm:presLayoutVars>
          <dgm:bulletEnabled val="1"/>
        </dgm:presLayoutVars>
      </dgm:prSet>
      <dgm:spPr/>
    </dgm:pt>
    <dgm:pt modelId="{C43449CC-6298-4F16-82E0-9C406C865C52}" type="pres">
      <dgm:prSet presAssocID="{9382D30A-9D9B-4390-8274-8728BCE96A19}" presName="sibTrans" presStyleLbl="sibTrans2D1" presStyleIdx="2" presStyleCnt="3"/>
      <dgm:spPr/>
    </dgm:pt>
    <dgm:pt modelId="{8A50568D-4E96-49BE-B74E-A3385F15BEE6}" type="pres">
      <dgm:prSet presAssocID="{9382D30A-9D9B-4390-8274-8728BCE96A19}" presName="connectorText" presStyleLbl="sibTrans2D1" presStyleIdx="2" presStyleCnt="3"/>
      <dgm:spPr/>
    </dgm:pt>
    <dgm:pt modelId="{2407E842-CC71-45AF-AA51-B0BAA2E6E8AE}" type="pres">
      <dgm:prSet presAssocID="{8648C817-3A8B-48D7-B837-084A826C5392}" presName="node" presStyleLbl="node1" presStyleIdx="3" presStyleCnt="4">
        <dgm:presLayoutVars>
          <dgm:bulletEnabled val="1"/>
        </dgm:presLayoutVars>
      </dgm:prSet>
      <dgm:spPr/>
    </dgm:pt>
  </dgm:ptLst>
  <dgm:cxnLst>
    <dgm:cxn modelId="{D54F9504-75ED-4380-B222-15993F51ECC4}" type="presOf" srcId="{DEBDB4F5-66B3-43EF-8718-CACF9A49183A}" destId="{6D1853B6-3459-4773-9C49-BED6426EC137}" srcOrd="0" destOrd="0" presId="urn:microsoft.com/office/officeart/2005/8/layout/process1"/>
    <dgm:cxn modelId="{31CDFB13-327B-48D9-BE9A-4445A768259A}" type="presOf" srcId="{2028DA73-3F97-4A24-B313-F38580E3146E}" destId="{F0A43B8A-826E-4FCB-946B-4C1CA873F676}" srcOrd="0" destOrd="0" presId="urn:microsoft.com/office/officeart/2005/8/layout/process1"/>
    <dgm:cxn modelId="{E9B17B22-2F19-4BD2-807F-268B98137C42}" type="presOf" srcId="{9382D30A-9D9B-4390-8274-8728BCE96A19}" destId="{8A50568D-4E96-49BE-B74E-A3385F15BEE6}" srcOrd="1" destOrd="0" presId="urn:microsoft.com/office/officeart/2005/8/layout/process1"/>
    <dgm:cxn modelId="{A2B5B430-322B-4AB4-9FCE-765673C8E95E}" type="presOf" srcId="{72ABAB38-C5B2-4936-BBFA-5C52DED03B39}" destId="{53A868FA-2C81-4FD3-87F6-CDFC5F582E14}" srcOrd="0" destOrd="0" presId="urn:microsoft.com/office/officeart/2005/8/layout/process1"/>
    <dgm:cxn modelId="{161B933F-9EB7-472B-8E76-311A677E5D30}" srcId="{2028DA73-3F97-4A24-B313-F38580E3146E}" destId="{A4802F17-7337-4D67-BB68-54A206C3CD55}" srcOrd="0" destOrd="0" parTransId="{E0F45F08-9ABD-4C02-B29F-391AFBCD5D61}" sibTransId="{7BEDAF3C-6E1D-4F2D-9EAA-334D2B1738AF}"/>
    <dgm:cxn modelId="{1BC57761-8406-46DC-9F15-F83B27A372C6}" srcId="{2028DA73-3F97-4A24-B313-F38580E3146E}" destId="{DEBDB4F5-66B3-43EF-8718-CACF9A49183A}" srcOrd="2" destOrd="0" parTransId="{DAB96D06-AC71-4A85-AC19-26CD2101815E}" sibTransId="{9382D30A-9D9B-4390-8274-8728BCE96A19}"/>
    <dgm:cxn modelId="{774FA664-3788-4938-B4A1-1DD4E45F0C51}" type="presOf" srcId="{78B36255-5D7D-4272-87F3-A52934960AE6}" destId="{BCBEF477-D1E4-4F43-95BF-949C15482887}" srcOrd="0" destOrd="0" presId="urn:microsoft.com/office/officeart/2005/8/layout/process1"/>
    <dgm:cxn modelId="{6B85596B-EF40-43A8-94AC-EAE09E599E3E}" srcId="{2028DA73-3F97-4A24-B313-F38580E3146E}" destId="{78B36255-5D7D-4272-87F3-A52934960AE6}" srcOrd="1" destOrd="0" parTransId="{5B285F38-F903-4B1D-94DB-436709A68A1C}" sibTransId="{72ABAB38-C5B2-4936-BBFA-5C52DED03B39}"/>
    <dgm:cxn modelId="{6C94456E-C7D5-4437-B017-7FBC255D1BDB}" srcId="{2028DA73-3F97-4A24-B313-F38580E3146E}" destId="{8648C817-3A8B-48D7-B837-084A826C5392}" srcOrd="3" destOrd="0" parTransId="{93619EDB-6EB3-4363-9CB4-D27C1AD9CE7D}" sibTransId="{957EC91E-BBBE-4D3A-A69F-E7254F62779B}"/>
    <dgm:cxn modelId="{9200F67F-0E4F-4A9E-A299-830BE786D4C4}" type="presOf" srcId="{8648C817-3A8B-48D7-B837-084A826C5392}" destId="{2407E842-CC71-45AF-AA51-B0BAA2E6E8AE}" srcOrd="0" destOrd="0" presId="urn:microsoft.com/office/officeart/2005/8/layout/process1"/>
    <dgm:cxn modelId="{D5FFF091-3544-4028-8DCF-9FA74FA7A318}" type="presOf" srcId="{A4802F17-7337-4D67-BB68-54A206C3CD55}" destId="{71EDBC54-C3B6-450E-B7AC-9A650B37F798}" srcOrd="0" destOrd="0" presId="urn:microsoft.com/office/officeart/2005/8/layout/process1"/>
    <dgm:cxn modelId="{C1C771A9-0611-4DCE-ABF3-FA6A698D1FD8}" type="presOf" srcId="{72ABAB38-C5B2-4936-BBFA-5C52DED03B39}" destId="{24CF55E7-C951-44E5-AC67-3DC50E60AC15}" srcOrd="1" destOrd="0" presId="urn:microsoft.com/office/officeart/2005/8/layout/process1"/>
    <dgm:cxn modelId="{55D20CD5-9503-4A7F-AE13-590F484DB7CA}" type="presOf" srcId="{7BEDAF3C-6E1D-4F2D-9EAA-334D2B1738AF}" destId="{A0570437-9CBC-4DA8-BAC8-F0A228EA4974}" srcOrd="0" destOrd="0" presId="urn:microsoft.com/office/officeart/2005/8/layout/process1"/>
    <dgm:cxn modelId="{34FD64DB-810A-47AF-880D-895BB9DE30FD}" type="presOf" srcId="{9382D30A-9D9B-4390-8274-8728BCE96A19}" destId="{C43449CC-6298-4F16-82E0-9C406C865C52}" srcOrd="0" destOrd="0" presId="urn:microsoft.com/office/officeart/2005/8/layout/process1"/>
    <dgm:cxn modelId="{6C1FF1F7-29CC-48D4-A78F-FC803397ADA6}" type="presOf" srcId="{7BEDAF3C-6E1D-4F2D-9EAA-334D2B1738AF}" destId="{4F764DDB-7672-4177-8F5A-6C4F7FF6AB66}" srcOrd="1" destOrd="0" presId="urn:microsoft.com/office/officeart/2005/8/layout/process1"/>
    <dgm:cxn modelId="{15B59E7B-3140-4FA6-83E8-AAB055CBCAC5}" type="presParOf" srcId="{F0A43B8A-826E-4FCB-946B-4C1CA873F676}" destId="{71EDBC54-C3B6-450E-B7AC-9A650B37F798}" srcOrd="0" destOrd="0" presId="urn:microsoft.com/office/officeart/2005/8/layout/process1"/>
    <dgm:cxn modelId="{74F0F9F5-8C00-4E21-8585-48D63933D113}" type="presParOf" srcId="{F0A43B8A-826E-4FCB-946B-4C1CA873F676}" destId="{A0570437-9CBC-4DA8-BAC8-F0A228EA4974}" srcOrd="1" destOrd="0" presId="urn:microsoft.com/office/officeart/2005/8/layout/process1"/>
    <dgm:cxn modelId="{7BF77ACE-B465-4779-A9FC-9FDEC59BAFCF}" type="presParOf" srcId="{A0570437-9CBC-4DA8-BAC8-F0A228EA4974}" destId="{4F764DDB-7672-4177-8F5A-6C4F7FF6AB66}" srcOrd="0" destOrd="0" presId="urn:microsoft.com/office/officeart/2005/8/layout/process1"/>
    <dgm:cxn modelId="{5C7FCA2D-1789-4F91-8B61-E70134998ABF}" type="presParOf" srcId="{F0A43B8A-826E-4FCB-946B-4C1CA873F676}" destId="{BCBEF477-D1E4-4F43-95BF-949C15482887}" srcOrd="2" destOrd="0" presId="urn:microsoft.com/office/officeart/2005/8/layout/process1"/>
    <dgm:cxn modelId="{9740822C-8A7A-477C-9DDB-89FA7A1B01AC}" type="presParOf" srcId="{F0A43B8A-826E-4FCB-946B-4C1CA873F676}" destId="{53A868FA-2C81-4FD3-87F6-CDFC5F582E14}" srcOrd="3" destOrd="0" presId="urn:microsoft.com/office/officeart/2005/8/layout/process1"/>
    <dgm:cxn modelId="{81CCCDAD-7F4C-4D3D-913D-8BE3C4F88CFF}" type="presParOf" srcId="{53A868FA-2C81-4FD3-87F6-CDFC5F582E14}" destId="{24CF55E7-C951-44E5-AC67-3DC50E60AC15}" srcOrd="0" destOrd="0" presId="urn:microsoft.com/office/officeart/2005/8/layout/process1"/>
    <dgm:cxn modelId="{F0EF19B9-7D01-4ADF-A64F-3E807447492C}" type="presParOf" srcId="{F0A43B8A-826E-4FCB-946B-4C1CA873F676}" destId="{6D1853B6-3459-4773-9C49-BED6426EC137}" srcOrd="4" destOrd="0" presId="urn:microsoft.com/office/officeart/2005/8/layout/process1"/>
    <dgm:cxn modelId="{E90187F2-2502-4C12-B261-901361CE538A}" type="presParOf" srcId="{F0A43B8A-826E-4FCB-946B-4C1CA873F676}" destId="{C43449CC-6298-4F16-82E0-9C406C865C52}" srcOrd="5" destOrd="0" presId="urn:microsoft.com/office/officeart/2005/8/layout/process1"/>
    <dgm:cxn modelId="{59FE1D91-A013-404B-8F23-64CDBFB3AFFE}" type="presParOf" srcId="{C43449CC-6298-4F16-82E0-9C406C865C52}" destId="{8A50568D-4E96-49BE-B74E-A3385F15BEE6}" srcOrd="0" destOrd="0" presId="urn:microsoft.com/office/officeart/2005/8/layout/process1"/>
    <dgm:cxn modelId="{12AE7DAA-45A7-4C11-BCB6-C1089D96FD99}" type="presParOf" srcId="{F0A43B8A-826E-4FCB-946B-4C1CA873F676}" destId="{2407E842-CC71-45AF-AA51-B0BAA2E6E8AE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2A1114-9389-4568-994E-0C129E2FC822}" type="doc">
      <dgm:prSet loTypeId="urn:microsoft.com/office/officeart/2005/8/layout/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D534539F-49FE-4729-8876-3EB1EB36BC9C}">
      <dgm:prSet phldrT="[Text]"/>
      <dgm:spPr/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rigger is Reached</a:t>
          </a:r>
        </a:p>
      </dgm:t>
    </dgm:pt>
    <dgm:pt modelId="{87F1EB03-0BF6-4062-9F23-8829D201844C}" type="parTrans" cxnId="{DCF2BE81-F3F8-4B00-A8C6-04E6B9FC727C}">
      <dgm:prSet/>
      <dgm:spPr/>
      <dgm:t>
        <a:bodyPr/>
        <a:lstStyle/>
        <a:p>
          <a:endParaRPr lang="en-US"/>
        </a:p>
      </dgm:t>
    </dgm:pt>
    <dgm:pt modelId="{80599306-20F6-44C2-9B8D-4D9EBED71064}" type="sibTrans" cxnId="{DCF2BE81-F3F8-4B00-A8C6-04E6B9FC727C}">
      <dgm:prSet/>
      <dgm:spPr/>
      <dgm:t>
        <a:bodyPr/>
        <a:lstStyle/>
        <a:p>
          <a:endParaRPr lang="en-US"/>
        </a:p>
      </dgm:t>
    </dgm:pt>
    <dgm:pt modelId="{7F19E66D-1A8A-492C-8603-A9395899323A}">
      <dgm:prSet phldrT="[Text]"/>
      <dgm:spPr/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5% of the trigger amount is established as a special measures allowance</a:t>
          </a:r>
        </a:p>
      </dgm:t>
    </dgm:pt>
    <dgm:pt modelId="{87C80485-EDFC-431D-A81D-2B1EEC9074E1}" type="parTrans" cxnId="{7E6A209F-56DB-4F69-BDA0-A6EF1B7B289B}">
      <dgm:prSet/>
      <dgm:spPr/>
      <dgm:t>
        <a:bodyPr/>
        <a:lstStyle/>
        <a:p>
          <a:endParaRPr lang="en-US"/>
        </a:p>
      </dgm:t>
    </dgm:pt>
    <dgm:pt modelId="{015F697E-7263-4F64-9F39-981C4CC54A87}" type="sibTrans" cxnId="{7E6A209F-56DB-4F69-BDA0-A6EF1B7B289B}">
      <dgm:prSet/>
      <dgm:spPr/>
      <dgm:t>
        <a:bodyPr/>
        <a:lstStyle/>
        <a:p>
          <a:endParaRPr lang="en-US"/>
        </a:p>
      </dgm:t>
    </dgm:pt>
    <dgm:pt modelId="{7759F0E8-2BB7-4615-9C29-3039B1586C0B}">
      <dgm:prSet phldrT="[Text]"/>
      <dgm:spPr/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Market Monitoring</a:t>
          </a:r>
        </a:p>
      </dgm:t>
    </dgm:pt>
    <dgm:pt modelId="{2C986271-DA34-4695-AA59-03DE573448F7}" type="parTrans" cxnId="{D26FACA0-2178-4C86-96F0-57048286AF5C}">
      <dgm:prSet/>
      <dgm:spPr/>
      <dgm:t>
        <a:bodyPr/>
        <a:lstStyle/>
        <a:p>
          <a:endParaRPr lang="en-US"/>
        </a:p>
      </dgm:t>
    </dgm:pt>
    <dgm:pt modelId="{8A94DCE3-5525-4F60-BD18-A154C7147825}" type="sibTrans" cxnId="{D26FACA0-2178-4C86-96F0-57048286AF5C}">
      <dgm:prSet/>
      <dgm:spPr/>
      <dgm:t>
        <a:bodyPr/>
        <a:lstStyle/>
        <a:p>
          <a:endParaRPr lang="en-US"/>
        </a:p>
      </dgm:t>
    </dgm:pt>
    <dgm:pt modelId="{D8FF5494-C9C3-462C-AEC0-DB42A917D260}">
      <dgm:prSet phldrT="[Text]"/>
      <dgm:spPr/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During the next 3-6 months, monitor market movement</a:t>
          </a:r>
        </a:p>
      </dgm:t>
    </dgm:pt>
    <dgm:pt modelId="{54ABAC7E-564E-44F6-A55A-E0DF854E8C9D}" type="parTrans" cxnId="{4CF417B9-3B9D-4398-8252-A30DEF490402}">
      <dgm:prSet/>
      <dgm:spPr/>
      <dgm:t>
        <a:bodyPr/>
        <a:lstStyle/>
        <a:p>
          <a:endParaRPr lang="en-US"/>
        </a:p>
      </dgm:t>
    </dgm:pt>
    <dgm:pt modelId="{B1D6D5CA-B6DC-478A-ADED-E1195DF416A2}" type="sibTrans" cxnId="{4CF417B9-3B9D-4398-8252-A30DEF490402}">
      <dgm:prSet/>
      <dgm:spPr/>
      <dgm:t>
        <a:bodyPr/>
        <a:lstStyle/>
        <a:p>
          <a:endParaRPr lang="en-US"/>
        </a:p>
      </dgm:t>
    </dgm:pt>
    <dgm:pt modelId="{A05A1702-F16C-46D6-8674-6770F13DAF2B}">
      <dgm:prSet phldrT="[Text]"/>
      <dgm:spPr/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Market Exceeds Special Measures</a:t>
          </a:r>
        </a:p>
      </dgm:t>
    </dgm:pt>
    <dgm:pt modelId="{8742CCDA-A6D4-4DAA-9FDD-755DAC286FDE}" type="parTrans" cxnId="{B7BE2403-7566-418E-81CD-92BB8D74D94B}">
      <dgm:prSet/>
      <dgm:spPr/>
      <dgm:t>
        <a:bodyPr/>
        <a:lstStyle/>
        <a:p>
          <a:endParaRPr lang="en-US"/>
        </a:p>
      </dgm:t>
    </dgm:pt>
    <dgm:pt modelId="{DA7AECED-7F28-4666-904B-57DC42177D63}" type="sibTrans" cxnId="{B7BE2403-7566-418E-81CD-92BB8D74D94B}">
      <dgm:prSet/>
      <dgm:spPr/>
      <dgm:t>
        <a:bodyPr/>
        <a:lstStyle/>
        <a:p>
          <a:endParaRPr lang="en-US"/>
        </a:p>
      </dgm:t>
    </dgm:pt>
    <dgm:pt modelId="{D9C336E9-F140-45D0-8729-C1320641524F}">
      <dgm:prSet phldrT="[Text]"/>
      <dgm:spPr/>
      <dgm:t>
        <a:bodyPr/>
        <a:lstStyle/>
        <a:p>
          <a:endParaRPr lang="en-US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DF46ADCE-5BE1-48EF-BC4F-9A4C3811A95B}" type="parTrans" cxnId="{50602479-0E31-42FA-B9D2-C03A91EB76FE}">
      <dgm:prSet/>
      <dgm:spPr/>
      <dgm:t>
        <a:bodyPr/>
        <a:lstStyle/>
        <a:p>
          <a:endParaRPr lang="en-US"/>
        </a:p>
      </dgm:t>
    </dgm:pt>
    <dgm:pt modelId="{B58CFDCB-11FF-493E-891A-DD3CFCA20DAF}" type="sibTrans" cxnId="{50602479-0E31-42FA-B9D2-C03A91EB76FE}">
      <dgm:prSet/>
      <dgm:spPr/>
      <dgm:t>
        <a:bodyPr/>
        <a:lstStyle/>
        <a:p>
          <a:endParaRPr lang="en-US"/>
        </a:p>
      </dgm:t>
    </dgm:pt>
    <dgm:pt modelId="{8650A97B-59F5-44E7-8767-3D28A7203F10}">
      <dgm:prSet phldrT="[Text]"/>
      <dgm:spPr/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hen market movement occurs, increase base salary and reduce allowance in equal amounts</a:t>
          </a:r>
        </a:p>
      </dgm:t>
    </dgm:pt>
    <dgm:pt modelId="{D2D5C4E6-9C53-4F87-B96B-7C390558F301}" type="parTrans" cxnId="{778C7EE6-C360-44C1-BC18-F0F108492500}">
      <dgm:prSet/>
      <dgm:spPr/>
      <dgm:t>
        <a:bodyPr/>
        <a:lstStyle/>
        <a:p>
          <a:endParaRPr lang="en-US"/>
        </a:p>
      </dgm:t>
    </dgm:pt>
    <dgm:pt modelId="{542902BF-AE6D-4C56-B1AB-266348F815BC}" type="sibTrans" cxnId="{778C7EE6-C360-44C1-BC18-F0F108492500}">
      <dgm:prSet/>
      <dgm:spPr/>
      <dgm:t>
        <a:bodyPr/>
        <a:lstStyle/>
        <a:p>
          <a:endParaRPr lang="en-US"/>
        </a:p>
      </dgm:t>
    </dgm:pt>
    <dgm:pt modelId="{8E55A62B-FEAC-4E10-81C4-9847D6F40247}">
      <dgm:prSet phldrT="[Text]"/>
      <dgm:spPr/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oll into salary </a:t>
          </a:r>
        </a:p>
      </dgm:t>
    </dgm:pt>
    <dgm:pt modelId="{A655A68D-F567-45D5-BE78-03EB333B7C63}" type="parTrans" cxnId="{5114B371-1277-4355-9E91-F1C2151E15A5}">
      <dgm:prSet/>
      <dgm:spPr/>
      <dgm:t>
        <a:bodyPr/>
        <a:lstStyle/>
        <a:p>
          <a:endParaRPr lang="en-US"/>
        </a:p>
      </dgm:t>
    </dgm:pt>
    <dgm:pt modelId="{33F0FF01-B25F-4B5C-B0B2-A37442F40179}" type="sibTrans" cxnId="{5114B371-1277-4355-9E91-F1C2151E15A5}">
      <dgm:prSet/>
      <dgm:spPr/>
      <dgm:t>
        <a:bodyPr/>
        <a:lstStyle/>
        <a:p>
          <a:endParaRPr lang="en-US"/>
        </a:p>
      </dgm:t>
    </dgm:pt>
    <dgm:pt modelId="{073DA741-23C5-44EF-BF11-BC4A28A741FD}">
      <dgm:prSet phldrT="[Text]"/>
      <dgm:spPr/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liminate allowance</a:t>
          </a:r>
        </a:p>
      </dgm:t>
    </dgm:pt>
    <dgm:pt modelId="{2A904AB4-1D9B-44A0-8315-C5CB76CC904F}" type="parTrans" cxnId="{F110436F-C840-4382-B1D8-B3319AA986D5}">
      <dgm:prSet/>
      <dgm:spPr/>
      <dgm:t>
        <a:bodyPr/>
        <a:lstStyle/>
        <a:p>
          <a:endParaRPr lang="en-US"/>
        </a:p>
      </dgm:t>
    </dgm:pt>
    <dgm:pt modelId="{861724C5-E88C-4402-96AF-90843205F126}" type="sibTrans" cxnId="{F110436F-C840-4382-B1D8-B3319AA986D5}">
      <dgm:prSet/>
      <dgm:spPr/>
      <dgm:t>
        <a:bodyPr/>
        <a:lstStyle/>
        <a:p>
          <a:endParaRPr lang="en-US"/>
        </a:p>
      </dgm:t>
    </dgm:pt>
    <dgm:pt modelId="{A3DF2C08-B415-4154-AE99-7422F0C2734D}">
      <dgm:prSet phldrT="[Text]"/>
      <dgm:spPr/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ake your market position into account and adjust accordingly</a:t>
          </a:r>
        </a:p>
      </dgm:t>
    </dgm:pt>
    <dgm:pt modelId="{DD340A71-8558-426C-A0D0-241B3EE4E214}" type="parTrans" cxnId="{DC13EF6F-2F61-4127-932D-99304DEA1A56}">
      <dgm:prSet/>
      <dgm:spPr/>
      <dgm:t>
        <a:bodyPr/>
        <a:lstStyle/>
        <a:p>
          <a:endParaRPr lang="en-US"/>
        </a:p>
      </dgm:t>
    </dgm:pt>
    <dgm:pt modelId="{3AC9B836-D71E-486E-8848-4262A06C24AC}" type="sibTrans" cxnId="{DC13EF6F-2F61-4127-932D-99304DEA1A56}">
      <dgm:prSet/>
      <dgm:spPr/>
      <dgm:t>
        <a:bodyPr/>
        <a:lstStyle/>
        <a:p>
          <a:endParaRPr lang="en-US"/>
        </a:p>
      </dgm:t>
    </dgm:pt>
    <dgm:pt modelId="{0CD18623-B6C4-4371-8441-E7D1C3303A66}" type="pres">
      <dgm:prSet presAssocID="{A92A1114-9389-4568-994E-0C129E2FC822}" presName="linearFlow" presStyleCnt="0">
        <dgm:presLayoutVars>
          <dgm:dir/>
          <dgm:animLvl val="lvl"/>
          <dgm:resizeHandles val="exact"/>
        </dgm:presLayoutVars>
      </dgm:prSet>
      <dgm:spPr/>
    </dgm:pt>
    <dgm:pt modelId="{6EB086B6-2336-40E8-AE8D-F3C6D42E3DFB}" type="pres">
      <dgm:prSet presAssocID="{D534539F-49FE-4729-8876-3EB1EB36BC9C}" presName="composite" presStyleCnt="0"/>
      <dgm:spPr/>
    </dgm:pt>
    <dgm:pt modelId="{D4D9B33F-1EED-4ADF-9E66-771C91A44380}" type="pres">
      <dgm:prSet presAssocID="{D534539F-49FE-4729-8876-3EB1EB36BC9C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B6BE75F7-5CF8-425B-86AC-A261B93FC434}" type="pres">
      <dgm:prSet presAssocID="{D534539F-49FE-4729-8876-3EB1EB36BC9C}" presName="parSh" presStyleLbl="node1" presStyleIdx="0" presStyleCnt="3"/>
      <dgm:spPr/>
    </dgm:pt>
    <dgm:pt modelId="{E33EEC2E-E77F-4612-B368-2F515DE58561}" type="pres">
      <dgm:prSet presAssocID="{D534539F-49FE-4729-8876-3EB1EB36BC9C}" presName="desTx" presStyleLbl="fgAcc1" presStyleIdx="0" presStyleCnt="3">
        <dgm:presLayoutVars>
          <dgm:bulletEnabled val="1"/>
        </dgm:presLayoutVars>
      </dgm:prSet>
      <dgm:spPr/>
    </dgm:pt>
    <dgm:pt modelId="{B4A3F0DC-6FD6-4795-8F40-11ACB9AC5650}" type="pres">
      <dgm:prSet presAssocID="{80599306-20F6-44C2-9B8D-4D9EBED71064}" presName="sibTrans" presStyleLbl="sibTrans2D1" presStyleIdx="0" presStyleCnt="2"/>
      <dgm:spPr/>
    </dgm:pt>
    <dgm:pt modelId="{CCE8EF0F-9A10-4814-9318-A3062E52C78A}" type="pres">
      <dgm:prSet presAssocID="{80599306-20F6-44C2-9B8D-4D9EBED71064}" presName="connTx" presStyleLbl="sibTrans2D1" presStyleIdx="0" presStyleCnt="2"/>
      <dgm:spPr/>
    </dgm:pt>
    <dgm:pt modelId="{C60EADFE-EEFB-45E7-842E-895C81735D62}" type="pres">
      <dgm:prSet presAssocID="{7759F0E8-2BB7-4615-9C29-3039B1586C0B}" presName="composite" presStyleCnt="0"/>
      <dgm:spPr/>
    </dgm:pt>
    <dgm:pt modelId="{336B68AB-7837-4D26-B8CA-A596D5C21704}" type="pres">
      <dgm:prSet presAssocID="{7759F0E8-2BB7-4615-9C29-3039B1586C0B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6A24D889-D302-45FB-AC13-D6545D9230F5}" type="pres">
      <dgm:prSet presAssocID="{7759F0E8-2BB7-4615-9C29-3039B1586C0B}" presName="parSh" presStyleLbl="node1" presStyleIdx="1" presStyleCnt="3"/>
      <dgm:spPr/>
    </dgm:pt>
    <dgm:pt modelId="{8E896BDC-29EE-42E1-8F28-D75CA63FE96C}" type="pres">
      <dgm:prSet presAssocID="{7759F0E8-2BB7-4615-9C29-3039B1586C0B}" presName="desTx" presStyleLbl="fgAcc1" presStyleIdx="1" presStyleCnt="3">
        <dgm:presLayoutVars>
          <dgm:bulletEnabled val="1"/>
        </dgm:presLayoutVars>
      </dgm:prSet>
      <dgm:spPr/>
    </dgm:pt>
    <dgm:pt modelId="{F6DCF65F-4368-4BC6-9965-625230D66E80}" type="pres">
      <dgm:prSet presAssocID="{8A94DCE3-5525-4F60-BD18-A154C7147825}" presName="sibTrans" presStyleLbl="sibTrans2D1" presStyleIdx="1" presStyleCnt="2"/>
      <dgm:spPr/>
    </dgm:pt>
    <dgm:pt modelId="{5D12B0E4-E60C-4015-AD6A-F4FC2BAA2B1C}" type="pres">
      <dgm:prSet presAssocID="{8A94DCE3-5525-4F60-BD18-A154C7147825}" presName="connTx" presStyleLbl="sibTrans2D1" presStyleIdx="1" presStyleCnt="2"/>
      <dgm:spPr/>
    </dgm:pt>
    <dgm:pt modelId="{51204E85-A7ED-4D8B-8E35-68E3CE5AEB35}" type="pres">
      <dgm:prSet presAssocID="{A05A1702-F16C-46D6-8674-6770F13DAF2B}" presName="composite" presStyleCnt="0"/>
      <dgm:spPr/>
    </dgm:pt>
    <dgm:pt modelId="{CD28C377-42B7-4599-A210-0EBBAD6DF869}" type="pres">
      <dgm:prSet presAssocID="{A05A1702-F16C-46D6-8674-6770F13DAF2B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C5BB8222-9F8D-47CD-A4A0-6D4A3BF653D8}" type="pres">
      <dgm:prSet presAssocID="{A05A1702-F16C-46D6-8674-6770F13DAF2B}" presName="parSh" presStyleLbl="node1" presStyleIdx="2" presStyleCnt="3"/>
      <dgm:spPr/>
    </dgm:pt>
    <dgm:pt modelId="{9C32B8EE-4516-4BAD-A532-BAC380083B54}" type="pres">
      <dgm:prSet presAssocID="{A05A1702-F16C-46D6-8674-6770F13DAF2B}" presName="desTx" presStyleLbl="fgAcc1" presStyleIdx="2" presStyleCnt="3">
        <dgm:presLayoutVars>
          <dgm:bulletEnabled val="1"/>
        </dgm:presLayoutVars>
      </dgm:prSet>
      <dgm:spPr/>
    </dgm:pt>
  </dgm:ptLst>
  <dgm:cxnLst>
    <dgm:cxn modelId="{9D495101-F0ED-4124-9FFB-327A534C5765}" type="presOf" srcId="{8E55A62B-FEAC-4E10-81C4-9847D6F40247}" destId="{9C32B8EE-4516-4BAD-A532-BAC380083B54}" srcOrd="0" destOrd="1" presId="urn:microsoft.com/office/officeart/2005/8/layout/process3"/>
    <dgm:cxn modelId="{B7BE2403-7566-418E-81CD-92BB8D74D94B}" srcId="{A92A1114-9389-4568-994E-0C129E2FC822}" destId="{A05A1702-F16C-46D6-8674-6770F13DAF2B}" srcOrd="2" destOrd="0" parTransId="{8742CCDA-A6D4-4DAA-9FDD-755DAC286FDE}" sibTransId="{DA7AECED-7F28-4666-904B-57DC42177D63}"/>
    <dgm:cxn modelId="{F948D80B-280D-4494-AFD2-BF20DD48E1AA}" type="presOf" srcId="{A3DF2C08-B415-4154-AE99-7422F0C2734D}" destId="{E33EEC2E-E77F-4612-B368-2F515DE58561}" srcOrd="0" destOrd="1" presId="urn:microsoft.com/office/officeart/2005/8/layout/process3"/>
    <dgm:cxn modelId="{AD2B780C-8C71-491A-AF7F-51944AC58E20}" type="presOf" srcId="{A92A1114-9389-4568-994E-0C129E2FC822}" destId="{0CD18623-B6C4-4371-8441-E7D1C3303A66}" srcOrd="0" destOrd="0" presId="urn:microsoft.com/office/officeart/2005/8/layout/process3"/>
    <dgm:cxn modelId="{5664FB28-0BDF-4900-B582-E365485703D7}" type="presOf" srcId="{D8FF5494-C9C3-462C-AEC0-DB42A917D260}" destId="{8E896BDC-29EE-42E1-8F28-D75CA63FE96C}" srcOrd="0" destOrd="0" presId="urn:microsoft.com/office/officeart/2005/8/layout/process3"/>
    <dgm:cxn modelId="{F110436F-C840-4382-B1D8-B3319AA986D5}" srcId="{A05A1702-F16C-46D6-8674-6770F13DAF2B}" destId="{073DA741-23C5-44EF-BF11-BC4A28A741FD}" srcOrd="2" destOrd="0" parTransId="{2A904AB4-1D9B-44A0-8315-C5CB76CC904F}" sibTransId="{861724C5-E88C-4402-96AF-90843205F126}"/>
    <dgm:cxn modelId="{DC13EF6F-2F61-4127-932D-99304DEA1A56}" srcId="{D534539F-49FE-4729-8876-3EB1EB36BC9C}" destId="{A3DF2C08-B415-4154-AE99-7422F0C2734D}" srcOrd="1" destOrd="0" parTransId="{DD340A71-8558-426C-A0D0-241B3EE4E214}" sibTransId="{3AC9B836-D71E-486E-8848-4262A06C24AC}"/>
    <dgm:cxn modelId="{5114B371-1277-4355-9E91-F1C2151E15A5}" srcId="{A05A1702-F16C-46D6-8674-6770F13DAF2B}" destId="{8E55A62B-FEAC-4E10-81C4-9847D6F40247}" srcOrd="1" destOrd="0" parTransId="{A655A68D-F567-45D5-BE78-03EB333B7C63}" sibTransId="{33F0FF01-B25F-4B5C-B0B2-A37442F40179}"/>
    <dgm:cxn modelId="{7B22A772-EE84-4812-A4CE-6B40C661CC4F}" type="presOf" srcId="{8A94DCE3-5525-4F60-BD18-A154C7147825}" destId="{F6DCF65F-4368-4BC6-9965-625230D66E80}" srcOrd="0" destOrd="0" presId="urn:microsoft.com/office/officeart/2005/8/layout/process3"/>
    <dgm:cxn modelId="{AB205D54-C563-48AE-B308-D3DDF6265A7A}" type="presOf" srcId="{7F19E66D-1A8A-492C-8603-A9395899323A}" destId="{E33EEC2E-E77F-4612-B368-2F515DE58561}" srcOrd="0" destOrd="0" presId="urn:microsoft.com/office/officeart/2005/8/layout/process3"/>
    <dgm:cxn modelId="{50602479-0E31-42FA-B9D2-C03A91EB76FE}" srcId="{A05A1702-F16C-46D6-8674-6770F13DAF2B}" destId="{D9C336E9-F140-45D0-8729-C1320641524F}" srcOrd="0" destOrd="0" parTransId="{DF46ADCE-5BE1-48EF-BC4F-9A4C3811A95B}" sibTransId="{B58CFDCB-11FF-493E-891A-DD3CFCA20DAF}"/>
    <dgm:cxn modelId="{DCF2BE81-F3F8-4B00-A8C6-04E6B9FC727C}" srcId="{A92A1114-9389-4568-994E-0C129E2FC822}" destId="{D534539F-49FE-4729-8876-3EB1EB36BC9C}" srcOrd="0" destOrd="0" parTransId="{87F1EB03-0BF6-4062-9F23-8829D201844C}" sibTransId="{80599306-20F6-44C2-9B8D-4D9EBED71064}"/>
    <dgm:cxn modelId="{8D6D7C85-4EA9-46C4-8782-988F51534DE1}" type="presOf" srcId="{D9C336E9-F140-45D0-8729-C1320641524F}" destId="{9C32B8EE-4516-4BAD-A532-BAC380083B54}" srcOrd="0" destOrd="0" presId="urn:microsoft.com/office/officeart/2005/8/layout/process3"/>
    <dgm:cxn modelId="{7E6A209F-56DB-4F69-BDA0-A6EF1B7B289B}" srcId="{D534539F-49FE-4729-8876-3EB1EB36BC9C}" destId="{7F19E66D-1A8A-492C-8603-A9395899323A}" srcOrd="0" destOrd="0" parTransId="{87C80485-EDFC-431D-A81D-2B1EEC9074E1}" sibTransId="{015F697E-7263-4F64-9F39-981C4CC54A87}"/>
    <dgm:cxn modelId="{D26FACA0-2178-4C86-96F0-57048286AF5C}" srcId="{A92A1114-9389-4568-994E-0C129E2FC822}" destId="{7759F0E8-2BB7-4615-9C29-3039B1586C0B}" srcOrd="1" destOrd="0" parTransId="{2C986271-DA34-4695-AA59-03DE573448F7}" sibTransId="{8A94DCE3-5525-4F60-BD18-A154C7147825}"/>
    <dgm:cxn modelId="{59CDE3AA-2D69-4B32-AF4B-A6CFB64C1A1F}" type="presOf" srcId="{A05A1702-F16C-46D6-8674-6770F13DAF2B}" destId="{C5BB8222-9F8D-47CD-A4A0-6D4A3BF653D8}" srcOrd="1" destOrd="0" presId="urn:microsoft.com/office/officeart/2005/8/layout/process3"/>
    <dgm:cxn modelId="{0F8975B5-DE5E-4218-B72C-493166447643}" type="presOf" srcId="{D534539F-49FE-4729-8876-3EB1EB36BC9C}" destId="{D4D9B33F-1EED-4ADF-9E66-771C91A44380}" srcOrd="0" destOrd="0" presId="urn:microsoft.com/office/officeart/2005/8/layout/process3"/>
    <dgm:cxn modelId="{588A0AB7-84B3-4BC6-86F8-9E3F679A3BD7}" type="presOf" srcId="{073DA741-23C5-44EF-BF11-BC4A28A741FD}" destId="{9C32B8EE-4516-4BAD-A532-BAC380083B54}" srcOrd="0" destOrd="2" presId="urn:microsoft.com/office/officeart/2005/8/layout/process3"/>
    <dgm:cxn modelId="{4CF417B9-3B9D-4398-8252-A30DEF490402}" srcId="{7759F0E8-2BB7-4615-9C29-3039B1586C0B}" destId="{D8FF5494-C9C3-462C-AEC0-DB42A917D260}" srcOrd="0" destOrd="0" parTransId="{54ABAC7E-564E-44F6-A55A-E0DF854E8C9D}" sibTransId="{B1D6D5CA-B6DC-478A-ADED-E1195DF416A2}"/>
    <dgm:cxn modelId="{C96CB9BF-8221-4B85-A7FE-12ED75636297}" type="presOf" srcId="{7759F0E8-2BB7-4615-9C29-3039B1586C0B}" destId="{336B68AB-7837-4D26-B8CA-A596D5C21704}" srcOrd="0" destOrd="0" presId="urn:microsoft.com/office/officeart/2005/8/layout/process3"/>
    <dgm:cxn modelId="{D3BECCC4-84F4-4927-86C5-DF02675C54BE}" type="presOf" srcId="{A05A1702-F16C-46D6-8674-6770F13DAF2B}" destId="{CD28C377-42B7-4599-A210-0EBBAD6DF869}" srcOrd="0" destOrd="0" presId="urn:microsoft.com/office/officeart/2005/8/layout/process3"/>
    <dgm:cxn modelId="{D59319DA-84C4-4C1C-87D3-E35E18B037CA}" type="presOf" srcId="{80599306-20F6-44C2-9B8D-4D9EBED71064}" destId="{CCE8EF0F-9A10-4814-9318-A3062E52C78A}" srcOrd="1" destOrd="0" presId="urn:microsoft.com/office/officeart/2005/8/layout/process3"/>
    <dgm:cxn modelId="{781B48DB-A7F6-4759-B0CA-38BA1D148DA5}" type="presOf" srcId="{80599306-20F6-44C2-9B8D-4D9EBED71064}" destId="{B4A3F0DC-6FD6-4795-8F40-11ACB9AC5650}" srcOrd="0" destOrd="0" presId="urn:microsoft.com/office/officeart/2005/8/layout/process3"/>
    <dgm:cxn modelId="{86FF50E3-7F4D-4602-9AF2-28A94297E475}" type="presOf" srcId="{8A94DCE3-5525-4F60-BD18-A154C7147825}" destId="{5D12B0E4-E60C-4015-AD6A-F4FC2BAA2B1C}" srcOrd="1" destOrd="0" presId="urn:microsoft.com/office/officeart/2005/8/layout/process3"/>
    <dgm:cxn modelId="{778C7EE6-C360-44C1-BC18-F0F108492500}" srcId="{7759F0E8-2BB7-4615-9C29-3039B1586C0B}" destId="{8650A97B-59F5-44E7-8767-3D28A7203F10}" srcOrd="1" destOrd="0" parTransId="{D2D5C4E6-9C53-4F87-B96B-7C390558F301}" sibTransId="{542902BF-AE6D-4C56-B1AB-266348F815BC}"/>
    <dgm:cxn modelId="{7CDA10ED-DBDA-48A8-AF30-11BC50DE3556}" type="presOf" srcId="{8650A97B-59F5-44E7-8767-3D28A7203F10}" destId="{8E896BDC-29EE-42E1-8F28-D75CA63FE96C}" srcOrd="0" destOrd="1" presId="urn:microsoft.com/office/officeart/2005/8/layout/process3"/>
    <dgm:cxn modelId="{659528ED-198A-42D8-9AAC-AD0D85C1737B}" type="presOf" srcId="{7759F0E8-2BB7-4615-9C29-3039B1586C0B}" destId="{6A24D889-D302-45FB-AC13-D6545D9230F5}" srcOrd="1" destOrd="0" presId="urn:microsoft.com/office/officeart/2005/8/layout/process3"/>
    <dgm:cxn modelId="{200980F1-7936-4461-A795-85658EC20AC8}" type="presOf" srcId="{D534539F-49FE-4729-8876-3EB1EB36BC9C}" destId="{B6BE75F7-5CF8-425B-86AC-A261B93FC434}" srcOrd="1" destOrd="0" presId="urn:microsoft.com/office/officeart/2005/8/layout/process3"/>
    <dgm:cxn modelId="{F11274C1-DBF0-493D-9619-52A50322A227}" type="presParOf" srcId="{0CD18623-B6C4-4371-8441-E7D1C3303A66}" destId="{6EB086B6-2336-40E8-AE8D-F3C6D42E3DFB}" srcOrd="0" destOrd="0" presId="urn:microsoft.com/office/officeart/2005/8/layout/process3"/>
    <dgm:cxn modelId="{426C41E7-6433-4E08-ABE8-4A27911AF59A}" type="presParOf" srcId="{6EB086B6-2336-40E8-AE8D-F3C6D42E3DFB}" destId="{D4D9B33F-1EED-4ADF-9E66-771C91A44380}" srcOrd="0" destOrd="0" presId="urn:microsoft.com/office/officeart/2005/8/layout/process3"/>
    <dgm:cxn modelId="{A9EA9D9E-10A8-4039-9288-12D0A9016032}" type="presParOf" srcId="{6EB086B6-2336-40E8-AE8D-F3C6D42E3DFB}" destId="{B6BE75F7-5CF8-425B-86AC-A261B93FC434}" srcOrd="1" destOrd="0" presId="urn:microsoft.com/office/officeart/2005/8/layout/process3"/>
    <dgm:cxn modelId="{73185C36-6DC7-49C7-A05E-A8E3EEFA132F}" type="presParOf" srcId="{6EB086B6-2336-40E8-AE8D-F3C6D42E3DFB}" destId="{E33EEC2E-E77F-4612-B368-2F515DE58561}" srcOrd="2" destOrd="0" presId="urn:microsoft.com/office/officeart/2005/8/layout/process3"/>
    <dgm:cxn modelId="{595CD003-9569-4D0B-9E52-CDCC79F246A4}" type="presParOf" srcId="{0CD18623-B6C4-4371-8441-E7D1C3303A66}" destId="{B4A3F0DC-6FD6-4795-8F40-11ACB9AC5650}" srcOrd="1" destOrd="0" presId="urn:microsoft.com/office/officeart/2005/8/layout/process3"/>
    <dgm:cxn modelId="{13ABC8C6-5C3E-492C-A920-E72754799E2C}" type="presParOf" srcId="{B4A3F0DC-6FD6-4795-8F40-11ACB9AC5650}" destId="{CCE8EF0F-9A10-4814-9318-A3062E52C78A}" srcOrd="0" destOrd="0" presId="urn:microsoft.com/office/officeart/2005/8/layout/process3"/>
    <dgm:cxn modelId="{EE4C79AF-8D87-43B6-8A74-6CDBD49230EE}" type="presParOf" srcId="{0CD18623-B6C4-4371-8441-E7D1C3303A66}" destId="{C60EADFE-EEFB-45E7-842E-895C81735D62}" srcOrd="2" destOrd="0" presId="urn:microsoft.com/office/officeart/2005/8/layout/process3"/>
    <dgm:cxn modelId="{87A2EB2C-0554-411D-B013-44628F017136}" type="presParOf" srcId="{C60EADFE-EEFB-45E7-842E-895C81735D62}" destId="{336B68AB-7837-4D26-B8CA-A596D5C21704}" srcOrd="0" destOrd="0" presId="urn:microsoft.com/office/officeart/2005/8/layout/process3"/>
    <dgm:cxn modelId="{C2139D49-0691-4C55-BE38-E6F5E4BA8867}" type="presParOf" srcId="{C60EADFE-EEFB-45E7-842E-895C81735D62}" destId="{6A24D889-D302-45FB-AC13-D6545D9230F5}" srcOrd="1" destOrd="0" presId="urn:microsoft.com/office/officeart/2005/8/layout/process3"/>
    <dgm:cxn modelId="{70E4848C-AEAF-460F-87C1-E15D917E258F}" type="presParOf" srcId="{C60EADFE-EEFB-45E7-842E-895C81735D62}" destId="{8E896BDC-29EE-42E1-8F28-D75CA63FE96C}" srcOrd="2" destOrd="0" presId="urn:microsoft.com/office/officeart/2005/8/layout/process3"/>
    <dgm:cxn modelId="{F82213D2-81CA-402A-8D59-654EC929D19A}" type="presParOf" srcId="{0CD18623-B6C4-4371-8441-E7D1C3303A66}" destId="{F6DCF65F-4368-4BC6-9965-625230D66E80}" srcOrd="3" destOrd="0" presId="urn:microsoft.com/office/officeart/2005/8/layout/process3"/>
    <dgm:cxn modelId="{105165F2-E986-4830-B656-8062F2D73468}" type="presParOf" srcId="{F6DCF65F-4368-4BC6-9965-625230D66E80}" destId="{5D12B0E4-E60C-4015-AD6A-F4FC2BAA2B1C}" srcOrd="0" destOrd="0" presId="urn:microsoft.com/office/officeart/2005/8/layout/process3"/>
    <dgm:cxn modelId="{486339FF-5210-4F98-B3E4-3569CB70F120}" type="presParOf" srcId="{0CD18623-B6C4-4371-8441-E7D1C3303A66}" destId="{51204E85-A7ED-4D8B-8E35-68E3CE5AEB35}" srcOrd="4" destOrd="0" presId="urn:microsoft.com/office/officeart/2005/8/layout/process3"/>
    <dgm:cxn modelId="{DC4982FA-11FD-48A6-AE9B-035EB1C57F47}" type="presParOf" srcId="{51204E85-A7ED-4D8B-8E35-68E3CE5AEB35}" destId="{CD28C377-42B7-4599-A210-0EBBAD6DF869}" srcOrd="0" destOrd="0" presId="urn:microsoft.com/office/officeart/2005/8/layout/process3"/>
    <dgm:cxn modelId="{92CFE005-8245-4D3D-B68D-08069EE6057E}" type="presParOf" srcId="{51204E85-A7ED-4D8B-8E35-68E3CE5AEB35}" destId="{C5BB8222-9F8D-47CD-A4A0-6D4A3BF653D8}" srcOrd="1" destOrd="0" presId="urn:microsoft.com/office/officeart/2005/8/layout/process3"/>
    <dgm:cxn modelId="{A1A0CA6A-E72E-43DD-A52B-E220CA74D083}" type="presParOf" srcId="{51204E85-A7ED-4D8B-8E35-68E3CE5AEB35}" destId="{9C32B8EE-4516-4BAD-A532-BAC380083B54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EDBC54-C3B6-450E-B7AC-9A650B37F798}">
      <dsp:nvSpPr>
        <dsp:cNvPr id="0" name=""/>
        <dsp:cNvSpPr/>
      </dsp:nvSpPr>
      <dsp:spPr>
        <a:xfrm>
          <a:off x="4621" y="2276016"/>
          <a:ext cx="2020453" cy="121227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Define a Trigger Point</a:t>
          </a:r>
        </a:p>
      </dsp:txBody>
      <dsp:txXfrm>
        <a:off x="40127" y="2311522"/>
        <a:ext cx="1949441" cy="1141260"/>
      </dsp:txXfrm>
    </dsp:sp>
    <dsp:sp modelId="{A0570437-9CBC-4DA8-BAC8-F0A228EA4974}">
      <dsp:nvSpPr>
        <dsp:cNvPr id="0" name=""/>
        <dsp:cNvSpPr/>
      </dsp:nvSpPr>
      <dsp:spPr>
        <a:xfrm>
          <a:off x="2227119" y="2631616"/>
          <a:ext cx="428336" cy="50107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2227119" y="2731830"/>
        <a:ext cx="299835" cy="300644"/>
      </dsp:txXfrm>
    </dsp:sp>
    <dsp:sp modelId="{BCBEF477-D1E4-4F43-95BF-949C15482887}">
      <dsp:nvSpPr>
        <dsp:cNvPr id="0" name=""/>
        <dsp:cNvSpPr/>
      </dsp:nvSpPr>
      <dsp:spPr>
        <a:xfrm>
          <a:off x="2833255" y="2276016"/>
          <a:ext cx="2020453" cy="121227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Define a Response</a:t>
          </a:r>
        </a:p>
      </dsp:txBody>
      <dsp:txXfrm>
        <a:off x="2868761" y="2311522"/>
        <a:ext cx="1949441" cy="1141260"/>
      </dsp:txXfrm>
    </dsp:sp>
    <dsp:sp modelId="{53A868FA-2C81-4FD3-87F6-CDFC5F582E14}">
      <dsp:nvSpPr>
        <dsp:cNvPr id="0" name=""/>
        <dsp:cNvSpPr/>
      </dsp:nvSpPr>
      <dsp:spPr>
        <a:xfrm>
          <a:off x="5055754" y="2631616"/>
          <a:ext cx="428336" cy="50107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5055754" y="2731830"/>
        <a:ext cx="299835" cy="300644"/>
      </dsp:txXfrm>
    </dsp:sp>
    <dsp:sp modelId="{6D1853B6-3459-4773-9C49-BED6426EC137}">
      <dsp:nvSpPr>
        <dsp:cNvPr id="0" name=""/>
        <dsp:cNvSpPr/>
      </dsp:nvSpPr>
      <dsp:spPr>
        <a:xfrm>
          <a:off x="5661890" y="2276016"/>
          <a:ext cx="2020453" cy="121227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Set a Timeframe and Monitor</a:t>
          </a:r>
        </a:p>
      </dsp:txBody>
      <dsp:txXfrm>
        <a:off x="5697396" y="2311522"/>
        <a:ext cx="1949441" cy="1141260"/>
      </dsp:txXfrm>
    </dsp:sp>
    <dsp:sp modelId="{C43449CC-6298-4F16-82E0-9C406C865C52}">
      <dsp:nvSpPr>
        <dsp:cNvPr id="0" name=""/>
        <dsp:cNvSpPr/>
      </dsp:nvSpPr>
      <dsp:spPr>
        <a:xfrm>
          <a:off x="7884389" y="2631616"/>
          <a:ext cx="428336" cy="50107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7884389" y="2731830"/>
        <a:ext cx="299835" cy="300644"/>
      </dsp:txXfrm>
    </dsp:sp>
    <dsp:sp modelId="{2407E842-CC71-45AF-AA51-B0BAA2E6E8AE}">
      <dsp:nvSpPr>
        <dsp:cNvPr id="0" name=""/>
        <dsp:cNvSpPr/>
      </dsp:nvSpPr>
      <dsp:spPr>
        <a:xfrm>
          <a:off x="8490525" y="2276016"/>
          <a:ext cx="2020453" cy="121227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Plan Your Exit</a:t>
          </a:r>
        </a:p>
      </dsp:txBody>
      <dsp:txXfrm>
        <a:off x="8526031" y="2311522"/>
        <a:ext cx="1949441" cy="11412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BE75F7-5CF8-425B-86AC-A261B93FC434}">
      <dsp:nvSpPr>
        <dsp:cNvPr id="0" name=""/>
        <dsp:cNvSpPr/>
      </dsp:nvSpPr>
      <dsp:spPr>
        <a:xfrm>
          <a:off x="3923" y="141831"/>
          <a:ext cx="1784025" cy="951610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rigger is Reached</a:t>
          </a:r>
        </a:p>
      </dsp:txBody>
      <dsp:txXfrm>
        <a:off x="3923" y="141831"/>
        <a:ext cx="1784025" cy="634407"/>
      </dsp:txXfrm>
    </dsp:sp>
    <dsp:sp modelId="{E33EEC2E-E77F-4612-B368-2F515DE58561}">
      <dsp:nvSpPr>
        <dsp:cNvPr id="0" name=""/>
        <dsp:cNvSpPr/>
      </dsp:nvSpPr>
      <dsp:spPr>
        <a:xfrm>
          <a:off x="369326" y="776238"/>
          <a:ext cx="1784025" cy="3683812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5% of the trigger amount is established as a special measures allowance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ake your market position into account and adjust accordingly</a:t>
          </a:r>
        </a:p>
      </dsp:txBody>
      <dsp:txXfrm>
        <a:off x="421578" y="828490"/>
        <a:ext cx="1679521" cy="3579308"/>
      </dsp:txXfrm>
    </dsp:sp>
    <dsp:sp modelId="{B4A3F0DC-6FD6-4795-8F40-11ACB9AC5650}">
      <dsp:nvSpPr>
        <dsp:cNvPr id="0" name=""/>
        <dsp:cNvSpPr/>
      </dsp:nvSpPr>
      <dsp:spPr>
        <a:xfrm>
          <a:off x="2058400" y="236949"/>
          <a:ext cx="573357" cy="444170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2058400" y="325783"/>
        <a:ext cx="440106" cy="266502"/>
      </dsp:txXfrm>
    </dsp:sp>
    <dsp:sp modelId="{6A24D889-D302-45FB-AC13-D6545D9230F5}">
      <dsp:nvSpPr>
        <dsp:cNvPr id="0" name=""/>
        <dsp:cNvSpPr/>
      </dsp:nvSpPr>
      <dsp:spPr>
        <a:xfrm>
          <a:off x="2869756" y="141831"/>
          <a:ext cx="1784025" cy="951610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Market Monitoring</a:t>
          </a:r>
        </a:p>
      </dsp:txBody>
      <dsp:txXfrm>
        <a:off x="2869756" y="141831"/>
        <a:ext cx="1784025" cy="634407"/>
      </dsp:txXfrm>
    </dsp:sp>
    <dsp:sp modelId="{8E896BDC-29EE-42E1-8F28-D75CA63FE96C}">
      <dsp:nvSpPr>
        <dsp:cNvPr id="0" name=""/>
        <dsp:cNvSpPr/>
      </dsp:nvSpPr>
      <dsp:spPr>
        <a:xfrm>
          <a:off x="3235159" y="776238"/>
          <a:ext cx="1784025" cy="3683812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During the next 3-6 months, monitor market movement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hen market movement occurs, increase base salary and reduce allowance in equal amounts</a:t>
          </a:r>
        </a:p>
      </dsp:txBody>
      <dsp:txXfrm>
        <a:off x="3287411" y="828490"/>
        <a:ext cx="1679521" cy="3579308"/>
      </dsp:txXfrm>
    </dsp:sp>
    <dsp:sp modelId="{F6DCF65F-4368-4BC6-9965-625230D66E80}">
      <dsp:nvSpPr>
        <dsp:cNvPr id="0" name=""/>
        <dsp:cNvSpPr/>
      </dsp:nvSpPr>
      <dsp:spPr>
        <a:xfrm>
          <a:off x="4924233" y="236949"/>
          <a:ext cx="573357" cy="444170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4924233" y="325783"/>
        <a:ext cx="440106" cy="266502"/>
      </dsp:txXfrm>
    </dsp:sp>
    <dsp:sp modelId="{C5BB8222-9F8D-47CD-A4A0-6D4A3BF653D8}">
      <dsp:nvSpPr>
        <dsp:cNvPr id="0" name=""/>
        <dsp:cNvSpPr/>
      </dsp:nvSpPr>
      <dsp:spPr>
        <a:xfrm>
          <a:off x="5735589" y="141831"/>
          <a:ext cx="1784025" cy="951610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Market Exceeds Special Measures</a:t>
          </a:r>
        </a:p>
      </dsp:txBody>
      <dsp:txXfrm>
        <a:off x="5735589" y="141831"/>
        <a:ext cx="1784025" cy="634407"/>
      </dsp:txXfrm>
    </dsp:sp>
    <dsp:sp modelId="{9C32B8EE-4516-4BAD-A532-BAC380083B54}">
      <dsp:nvSpPr>
        <dsp:cNvPr id="0" name=""/>
        <dsp:cNvSpPr/>
      </dsp:nvSpPr>
      <dsp:spPr>
        <a:xfrm>
          <a:off x="6100991" y="776238"/>
          <a:ext cx="1784025" cy="3683812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500" kern="12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oll into salary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liminate allowance</a:t>
          </a:r>
        </a:p>
      </dsp:txBody>
      <dsp:txXfrm>
        <a:off x="6153243" y="828490"/>
        <a:ext cx="1679521" cy="35793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59EA19-59BA-4F93-B515-00924FA444C1}" type="datetimeFigureOut">
              <a:rPr lang="en-US" smtClean="0"/>
              <a:t>10/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7B8B30-06EE-4A0E-9953-F97D657CC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975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76387-199E-4A10-89FF-A3A81CA5F99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96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76387-199E-4A10-89FF-A3A81CA5F99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0462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76387-199E-4A10-89FF-A3A81CA5F991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103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658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71BDE26C-B0ED-5B49-B26A-EA5990345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9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0A52A0-EC8D-6649-A0CB-23728B3295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561" y="6314812"/>
            <a:ext cx="1663700" cy="4445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7C45DD-F2EF-F14D-BD75-534A30643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0631" y="1349530"/>
            <a:ext cx="10515600" cy="3752193"/>
          </a:xfrm>
        </p:spPr>
        <p:txBody>
          <a:bodyPr/>
          <a:lstStyle>
            <a:lvl1pPr algn="ctr">
              <a:defRPr i="1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“Quote section for a nice break in the presentation"</a:t>
            </a:r>
          </a:p>
        </p:txBody>
      </p:sp>
    </p:spTree>
    <p:extLst>
      <p:ext uri="{BB962C8B-B14F-4D97-AF65-F5344CB8AC3E}">
        <p14:creationId xmlns:p14="http://schemas.microsoft.com/office/powerpoint/2010/main" val="3016744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DCFFA74-739B-8545-9F7E-DDB0FD24DA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376335"/>
            <a:ext cx="12192000" cy="1481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D29EF9C-6572-F345-8396-D94DFC50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9A5F31-8C16-B747-A2A7-BB8E8589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15838"/>
            <a:ext cx="10515600" cy="689236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66984B"/>
                </a:solidFill>
                <a:latin typeface="Georgia"/>
                <a:cs typeface="Georgi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941F30-FBDC-9C41-A05B-EE969F22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730589"/>
            <a:ext cx="10515600" cy="3459075"/>
          </a:xfrm>
        </p:spPr>
        <p:txBody>
          <a:bodyPr/>
          <a:lstStyle>
            <a:lvl1pPr>
              <a:defRPr>
                <a:solidFill>
                  <a:srgbClr val="434344"/>
                </a:solidFill>
                <a:latin typeface="Open Sans"/>
                <a:cs typeface="Open Sans"/>
              </a:defRPr>
            </a:lvl1pPr>
            <a:lvl2pPr>
              <a:defRPr>
                <a:solidFill>
                  <a:srgbClr val="434344"/>
                </a:solidFill>
                <a:latin typeface="Open Sans"/>
                <a:cs typeface="Open Sans"/>
              </a:defRPr>
            </a:lvl2pPr>
            <a:lvl3pPr>
              <a:defRPr>
                <a:solidFill>
                  <a:srgbClr val="434344"/>
                </a:solidFill>
                <a:latin typeface="Open Sans"/>
                <a:cs typeface="Open Sans"/>
              </a:defRPr>
            </a:lvl3pPr>
            <a:lvl4pPr>
              <a:defRPr>
                <a:solidFill>
                  <a:srgbClr val="434344"/>
                </a:solidFill>
                <a:latin typeface="Open Sans"/>
                <a:cs typeface="Open Sans"/>
              </a:defRPr>
            </a:lvl4pPr>
            <a:lvl5pPr>
              <a:defRPr>
                <a:solidFill>
                  <a:srgbClr val="43434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E93DA9-FD8C-1146-A350-2AAA467DB4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736665"/>
            <a:ext cx="10515600" cy="411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9B5F53-E1D1-454E-A867-C080A10B7B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8F0ABE45-4E63-2547-93A4-62E2D41F3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9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709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DCFFA74-739B-8545-9F7E-DDB0FD24DA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376335"/>
            <a:ext cx="12192000" cy="1481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D29EF9C-6572-F345-8396-D94DFC50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9A5F31-8C16-B747-A2A7-BB8E8589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823837"/>
            <a:ext cx="5256212" cy="681239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66984B"/>
                </a:solidFill>
                <a:latin typeface="Georgia"/>
                <a:cs typeface="Georgi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941F30-FBDC-9C41-A05B-EE969F22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730589"/>
            <a:ext cx="5256212" cy="3459075"/>
          </a:xfrm>
        </p:spPr>
        <p:txBody>
          <a:bodyPr/>
          <a:lstStyle>
            <a:lvl1pPr>
              <a:defRPr>
                <a:solidFill>
                  <a:srgbClr val="434344"/>
                </a:solidFill>
                <a:latin typeface="Open Sans"/>
                <a:cs typeface="Open Sans"/>
              </a:defRPr>
            </a:lvl1pPr>
            <a:lvl2pPr>
              <a:defRPr>
                <a:solidFill>
                  <a:srgbClr val="434344"/>
                </a:solidFill>
                <a:latin typeface="Open Sans"/>
                <a:cs typeface="Open Sans"/>
              </a:defRPr>
            </a:lvl2pPr>
            <a:lvl3pPr>
              <a:defRPr>
                <a:solidFill>
                  <a:srgbClr val="434344"/>
                </a:solidFill>
                <a:latin typeface="Open Sans"/>
                <a:cs typeface="Open Sans"/>
              </a:defRPr>
            </a:lvl3pPr>
            <a:lvl4pPr>
              <a:defRPr>
                <a:solidFill>
                  <a:srgbClr val="434344"/>
                </a:solidFill>
                <a:latin typeface="Open Sans"/>
                <a:cs typeface="Open Sans"/>
              </a:defRPr>
            </a:lvl4pPr>
            <a:lvl5pPr>
              <a:defRPr>
                <a:solidFill>
                  <a:srgbClr val="43434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E93DA9-FD8C-1146-A350-2AAA467DB4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736665"/>
            <a:ext cx="10515600" cy="411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9B5F53-E1D1-454E-A867-C080A10B7B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8F0ABE45-4E63-2547-93A4-62E2D41F3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9"/>
            <a:ext cx="2743200" cy="365125"/>
          </a:xfrm>
        </p:spPr>
        <p:txBody>
          <a:bodyPr/>
          <a:lstStyle>
            <a:lvl1pPr algn="l">
              <a:defRPr/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4977C1-6578-894D-BE54-4A32E39363A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8581" y="1823835"/>
            <a:ext cx="3943700" cy="4386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6165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71BDE26C-B0ED-5B49-B26A-EA5990345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9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0A52A0-EC8D-6649-A0CB-23728B3295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561" y="6314812"/>
            <a:ext cx="1663700" cy="4445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7C45DD-F2EF-F14D-BD75-534A30643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533530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Section Break Title Page</a:t>
            </a:r>
          </a:p>
        </p:txBody>
      </p:sp>
    </p:spTree>
    <p:extLst>
      <p:ext uri="{BB962C8B-B14F-4D97-AF65-F5344CB8AC3E}">
        <p14:creationId xmlns:p14="http://schemas.microsoft.com/office/powerpoint/2010/main" val="2314877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D7C45DD-F2EF-F14D-BD75-534A30643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6891" y="1349528"/>
            <a:ext cx="8182507" cy="4143178"/>
          </a:xfrm>
        </p:spPr>
        <p:txBody>
          <a:bodyPr/>
          <a:lstStyle>
            <a:lvl1pPr algn="ctr">
              <a:defRPr i="1">
                <a:solidFill>
                  <a:srgbClr val="434344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“Quote section for a nice break in the presentation"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FB121833-3270-424C-8BB2-A6F1F6F92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9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D238CF-C84F-9846-B06E-DAC317E2B8C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95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DDFF8-BDE3-4545-D420-8A2C1496D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F8571-B4BE-B724-5269-2498C678B8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8EB5D2-AFE1-1A4A-2DCB-A1225FB464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F21104-D78D-475A-9AD4-7ECD32BDBDC5}" type="datetimeFigureOut">
              <a:rPr lang="en-US" smtClean="0"/>
              <a:t>10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B65B80-C911-3AC2-B7F2-57709FF65B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57F81D-CFFA-5D49-73F4-8C54E7BDB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5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1CBDC7-7055-8C16-D806-200226759C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E8DEE4-E4A2-34C6-1D4D-1D8A660AAC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13D4B-5702-A31C-EA9F-91930B8732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F21104-D78D-475A-9AD4-7ECD32BDBDC5}" type="datetimeFigureOut">
              <a:rPr lang="en-US" smtClean="0"/>
              <a:t>10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A766B3-5876-F7E0-DEFA-79CC8ADF9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234291-9F51-3AC5-49C9-6F10BE2D1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768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609600" y="1368044"/>
            <a:ext cx="10972800" cy="440728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bg1">
                    <a:lumMod val="50000"/>
                  </a:schemeClr>
                </a:solidFill>
                <a:latin typeface="Lucida Sans" pitchFamily="34" charset="0"/>
                <a:cs typeface="Lucida Sans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bg1">
                    <a:lumMod val="50000"/>
                  </a:schemeClr>
                </a:solidFill>
                <a:latin typeface="Lucida Sans" pitchFamily="34" charset="0"/>
                <a:cs typeface="Lucida Sans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bg1">
                    <a:lumMod val="50000"/>
                  </a:schemeClr>
                </a:solidFill>
                <a:latin typeface="Lucida Sans" pitchFamily="34" charset="0"/>
                <a:cs typeface="Lucida Sans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bg1">
                    <a:lumMod val="50000"/>
                  </a:schemeClr>
                </a:solidFill>
                <a:latin typeface="Lucida Sans" pitchFamily="34" charset="0"/>
                <a:cs typeface="Lucida Sans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bg1">
                    <a:lumMod val="50000"/>
                  </a:schemeClr>
                </a:solidFill>
                <a:latin typeface="Lucida Sans" pitchFamily="34" charset="0"/>
                <a:cs typeface="Lucida Sans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600" y="561402"/>
            <a:ext cx="10972800" cy="779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1623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48702"/>
            <a:ext cx="10972800" cy="77944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875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3272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6875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3272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57307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8869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51461-DD65-6544-84C7-5A16AB322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315" y="895481"/>
            <a:ext cx="2409541" cy="1942312"/>
          </a:xfrm>
        </p:spPr>
        <p:txBody>
          <a:bodyPr anchor="b">
            <a:normAutofit/>
          </a:bodyPr>
          <a:lstStyle>
            <a:lvl1pPr>
              <a:defRPr sz="225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91527-FC89-874D-AF11-5C77AEBA26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15" y="3270116"/>
            <a:ext cx="2409541" cy="299199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5646EC27-732C-D645-A55D-E9D0226DFC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1315" y="3569315"/>
            <a:ext cx="24095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2"/>
                </a:solidFill>
                <a:latin typeface="Open Sans"/>
                <a:cs typeface="Open Sans"/>
              </a:defRPr>
            </a:lvl1pPr>
          </a:lstStyle>
          <a:p>
            <a:fld id="{39742D8C-D245-4E7C-980A-46C913BE3E02}" type="datetimeFigureOut">
              <a:rPr lang="en-GB" smtClean="0"/>
              <a:t>09/10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6304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586803"/>
            <a:ext cx="10972800" cy="779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1030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51461-DD65-6544-84C7-5A16AB322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314" y="895481"/>
            <a:ext cx="10992289" cy="1942312"/>
          </a:xfrm>
        </p:spPr>
        <p:txBody>
          <a:bodyPr anchor="b">
            <a:normAutofit/>
          </a:bodyPr>
          <a:lstStyle>
            <a:lvl1pPr>
              <a:defRPr sz="2250"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91527-FC89-874D-AF11-5C77AEBA26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15" y="3275284"/>
            <a:ext cx="10992288" cy="294031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434344"/>
                </a:solidFill>
                <a:latin typeface="Open Sans"/>
                <a:cs typeface="Open Sans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5646EC27-732C-D645-A55D-E9D0226DFC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1315" y="3575621"/>
            <a:ext cx="10992288" cy="358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rgbClr val="434344"/>
                </a:solidFill>
                <a:latin typeface="Open Sans"/>
                <a:cs typeface="Open Sans"/>
              </a:defRPr>
            </a:lvl1pPr>
          </a:lstStyle>
          <a:p>
            <a:fld id="{6BF21104-D78D-475A-9AD4-7ECD32BDBDC5}" type="datetimeFigureOut">
              <a:rPr lang="en-US" smtClean="0"/>
              <a:t>10/9/2025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77D1-8443-9D42-A7F8-23BE2F0B1E5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5" y="3046314"/>
            <a:ext cx="10972800" cy="4298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77006A-8F49-904F-BE62-6FC1521DF05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88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B5B0D49-7984-D895-ECAD-9026F7DF0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237444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5B0D49-7984-D895-ECAD-9026F7DF0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F0DE45-0797-6147-AE0D-1C6EF2497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>
            <a:lvl1pPr>
              <a:defRPr sz="2100"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9B2DF-054D-0D4E-AB3B-7E3EA198D7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07033"/>
            <a:ext cx="10515600" cy="4769930"/>
          </a:xfrm>
        </p:spPr>
        <p:txBody>
          <a:bodyPr>
            <a:normAutofit/>
          </a:bodyPr>
          <a:lstStyle>
            <a:lvl1pPr>
              <a:defRPr sz="1500">
                <a:solidFill>
                  <a:srgbClr val="434344"/>
                </a:solidFill>
                <a:latin typeface="Open Sans"/>
                <a:cs typeface="Open Sans"/>
              </a:defRPr>
            </a:lvl1pPr>
            <a:lvl2pPr>
              <a:defRPr sz="1350">
                <a:solidFill>
                  <a:srgbClr val="434344"/>
                </a:solidFill>
                <a:latin typeface="Open Sans"/>
                <a:cs typeface="Open Sans"/>
              </a:defRPr>
            </a:lvl2pPr>
            <a:lvl3pPr>
              <a:defRPr sz="1200">
                <a:solidFill>
                  <a:srgbClr val="434344"/>
                </a:solidFill>
                <a:latin typeface="Open Sans"/>
                <a:cs typeface="Open Sans"/>
              </a:defRPr>
            </a:lvl3pPr>
            <a:lvl4pPr>
              <a:defRPr sz="1050">
                <a:solidFill>
                  <a:srgbClr val="434344"/>
                </a:solidFill>
                <a:latin typeface="Open Sans"/>
                <a:cs typeface="Open Sans"/>
              </a:defRPr>
            </a:lvl4pPr>
            <a:lvl5pPr>
              <a:defRPr sz="1050">
                <a:solidFill>
                  <a:srgbClr val="43434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8A2B4C-373E-9645-B0EB-ABF7C29A7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9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F0CC07-9C31-7147-8520-FB34B21D663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309937"/>
            <a:ext cx="10515600" cy="411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D5E2BB-795D-794E-BD37-2A70611B959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637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inkCe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A93664-9D94-0FAB-984F-7434227827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595042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A93664-9D94-0FAB-984F-743422782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F0DE45-0797-6147-AE0D-1C6EF2497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2582"/>
          </a:xfrm>
        </p:spPr>
        <p:txBody>
          <a:bodyPr vert="horz">
            <a:normAutofit/>
          </a:bodyPr>
          <a:lstStyle>
            <a:lvl1pPr>
              <a:defRPr sz="1800"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F0CC07-9C31-7147-8520-FB34B21D663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069311"/>
            <a:ext cx="10515600" cy="411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D5E2BB-795D-794E-BD37-2A70611B959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D9C827-3AFF-04EB-A2E9-4769EDAC3BBD}"/>
              </a:ext>
            </a:extLst>
          </p:cNvPr>
          <p:cNvSpPr txBox="1"/>
          <p:nvPr/>
        </p:nvSpPr>
        <p:spPr>
          <a:xfrm>
            <a:off x="497149" y="6444604"/>
            <a:ext cx="2760401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solidFill>
                  <a:srgbClr val="2C5E28"/>
                </a:solidFill>
              </a:rPr>
              <a:t>©2025 Birches Group LLC    Page </a:t>
            </a:r>
            <a:fld id="{D420DBF6-FADC-4805-8649-0CCA4CE8AFDF}" type="slidenum">
              <a:rPr lang="en-US" sz="675" b="1" smtClean="0">
                <a:solidFill>
                  <a:srgbClr val="2C5E28"/>
                </a:solidFill>
                <a:latin typeface="+mn-lt"/>
              </a:rPr>
              <a:pPr/>
              <a:t>‹#›</a:t>
            </a:fld>
            <a:r>
              <a:rPr lang="en-US" sz="675" b="1" dirty="0">
                <a:solidFill>
                  <a:srgbClr val="2C5E28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159243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DCFFA74-739B-8545-9F7E-DDB0FD24DA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376335"/>
            <a:ext cx="12192000" cy="1481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D29EF9C-6572-F345-8396-D94DFC50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9A5F31-8C16-B747-A2A7-BB8E8589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15838"/>
            <a:ext cx="10515600" cy="689236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66984B"/>
                </a:solidFill>
                <a:latin typeface="Georgia"/>
                <a:cs typeface="Georgi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941F30-FBDC-9C41-A05B-EE969F22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730589"/>
            <a:ext cx="10515600" cy="3459075"/>
          </a:xfrm>
        </p:spPr>
        <p:txBody>
          <a:bodyPr/>
          <a:lstStyle>
            <a:lvl1pPr>
              <a:defRPr>
                <a:solidFill>
                  <a:srgbClr val="434344"/>
                </a:solidFill>
                <a:latin typeface="Open Sans"/>
                <a:cs typeface="Open Sans"/>
              </a:defRPr>
            </a:lvl1pPr>
            <a:lvl2pPr>
              <a:defRPr>
                <a:solidFill>
                  <a:srgbClr val="434344"/>
                </a:solidFill>
                <a:latin typeface="Open Sans"/>
                <a:cs typeface="Open Sans"/>
              </a:defRPr>
            </a:lvl2pPr>
            <a:lvl3pPr>
              <a:defRPr>
                <a:solidFill>
                  <a:srgbClr val="434344"/>
                </a:solidFill>
                <a:latin typeface="Open Sans"/>
                <a:cs typeface="Open Sans"/>
              </a:defRPr>
            </a:lvl3pPr>
            <a:lvl4pPr>
              <a:defRPr>
                <a:solidFill>
                  <a:srgbClr val="434344"/>
                </a:solidFill>
                <a:latin typeface="Open Sans"/>
                <a:cs typeface="Open Sans"/>
              </a:defRPr>
            </a:lvl4pPr>
            <a:lvl5pPr>
              <a:defRPr>
                <a:solidFill>
                  <a:srgbClr val="43434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E93DA9-FD8C-1146-A350-2AAA467DB4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736665"/>
            <a:ext cx="10515600" cy="411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9B5F53-E1D1-454E-A867-C080A10B7B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8F0ABE45-4E63-2547-93A4-62E2D41F3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9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4868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DCFFA74-739B-8545-9F7E-DDB0FD24DA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376335"/>
            <a:ext cx="12192000" cy="14816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D29EF9C-6572-F345-8396-D94DFC50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9A5F31-8C16-B747-A2A7-BB8E8589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823837"/>
            <a:ext cx="5256212" cy="681239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66984B"/>
                </a:solidFill>
                <a:latin typeface="Georgia"/>
                <a:cs typeface="Georgi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941F30-FBDC-9C41-A05B-EE969F22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730589"/>
            <a:ext cx="5256212" cy="3459075"/>
          </a:xfrm>
        </p:spPr>
        <p:txBody>
          <a:bodyPr/>
          <a:lstStyle>
            <a:lvl1pPr>
              <a:defRPr>
                <a:solidFill>
                  <a:srgbClr val="434344"/>
                </a:solidFill>
                <a:latin typeface="Open Sans"/>
                <a:cs typeface="Open Sans"/>
              </a:defRPr>
            </a:lvl1pPr>
            <a:lvl2pPr>
              <a:defRPr>
                <a:solidFill>
                  <a:srgbClr val="434344"/>
                </a:solidFill>
                <a:latin typeface="Open Sans"/>
                <a:cs typeface="Open Sans"/>
              </a:defRPr>
            </a:lvl2pPr>
            <a:lvl3pPr>
              <a:defRPr>
                <a:solidFill>
                  <a:srgbClr val="434344"/>
                </a:solidFill>
                <a:latin typeface="Open Sans"/>
                <a:cs typeface="Open Sans"/>
              </a:defRPr>
            </a:lvl3pPr>
            <a:lvl4pPr>
              <a:defRPr>
                <a:solidFill>
                  <a:srgbClr val="434344"/>
                </a:solidFill>
                <a:latin typeface="Open Sans"/>
                <a:cs typeface="Open Sans"/>
              </a:defRPr>
            </a:lvl4pPr>
            <a:lvl5pPr>
              <a:defRPr>
                <a:solidFill>
                  <a:srgbClr val="43434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E93DA9-FD8C-1146-A350-2AAA467DB4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736665"/>
            <a:ext cx="10515600" cy="411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9B5F53-E1D1-454E-A867-C080A10B7B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8F0ABE45-4E63-2547-93A4-62E2D41F3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9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4977C1-6578-894D-BE54-4A32E39363A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8581" y="1823835"/>
            <a:ext cx="3943700" cy="4386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0665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71BDE26C-B0ED-5B49-B26A-EA5990345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9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0A52A0-EC8D-6649-A0CB-23728B3295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561" y="6314812"/>
            <a:ext cx="1663700" cy="4445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7C45DD-F2EF-F14D-BD75-534A30643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533530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Section Break Title Page</a:t>
            </a:r>
          </a:p>
        </p:txBody>
      </p:sp>
    </p:spTree>
    <p:extLst>
      <p:ext uri="{BB962C8B-B14F-4D97-AF65-F5344CB8AC3E}">
        <p14:creationId xmlns:p14="http://schemas.microsoft.com/office/powerpoint/2010/main" val="4010771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D7C45DD-F2EF-F14D-BD75-534A30643A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0631" y="1349530"/>
            <a:ext cx="10515600" cy="3752193"/>
          </a:xfrm>
        </p:spPr>
        <p:txBody>
          <a:bodyPr/>
          <a:lstStyle>
            <a:lvl1pPr algn="ctr">
              <a:defRPr i="1">
                <a:solidFill>
                  <a:srgbClr val="22522C"/>
                </a:solidFill>
                <a:latin typeface="Georgia"/>
                <a:cs typeface="Georgia"/>
              </a:defRPr>
            </a:lvl1pPr>
          </a:lstStyle>
          <a:p>
            <a:r>
              <a:rPr lang="en-US"/>
              <a:t>“Quote section for a nice break in the presentation"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FB121833-3270-424C-8BB2-A6F1F6F92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94189"/>
            <a:ext cx="2743200" cy="365125"/>
          </a:xfrm>
        </p:spPr>
        <p:txBody>
          <a:bodyPr/>
          <a:lstStyle>
            <a:lvl1pPr algn="l">
              <a:defRPr>
                <a:latin typeface="Open Sans"/>
                <a:cs typeface="Open Sans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D238CF-C84F-9846-B06E-DAC317E2B8C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8260" y="6314812"/>
            <a:ext cx="1651000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929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6C5231-B270-7943-B4FE-4B0ECEC23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889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32411"/>
            <a:ext cx="10515600" cy="48445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D71BC2-3ED4-354F-A526-26A936A8F4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Times" pitchFamily="2" charset="0"/>
              </a:defRPr>
            </a:lvl1pPr>
          </a:lstStyle>
          <a:p>
            <a:fld id="{6BF21104-D78D-475A-9AD4-7ECD32BDBDC5}" type="datetimeFigureOut">
              <a:rPr lang="en-US" smtClean="0"/>
              <a:t>10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560399-0414-6B46-8330-75170832F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Times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19344A-D4F4-F74E-AF4F-AE7B30810D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Times" pitchFamily="2" charset="0"/>
              </a:defRPr>
            </a:lvl1pPr>
          </a:lstStyle>
          <a:p>
            <a:fld id="{19E6D878-9387-4848-B6B7-6A6113C7BB40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DC4CAD-0E93-9A84-37C1-2FA595FA94A0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13798666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4" imgH="344" progId="TCLayout.ActiveDocument.1">
                  <p:embed/>
                </p:oleObj>
              </mc:Choice>
              <mc:Fallback>
                <p:oleObj name="think-cell Slide" r:id="rId2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9DC4CAD-0E93-9A84-37C1-2FA595FA94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07149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/>
          <a:ea typeface="+mn-ea"/>
          <a:cs typeface="Open San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Open Sans"/>
          <a:ea typeface="+mn-ea"/>
          <a:cs typeface="Open San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Open Sans"/>
          <a:ea typeface="+mn-ea"/>
          <a:cs typeface="Open San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Open Sans"/>
          <a:ea typeface="+mn-ea"/>
          <a:cs typeface="Open San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Open Sans"/>
          <a:ea typeface="+mn-ea"/>
          <a:cs typeface="Open San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tags" Target="../tags/tag58.xml"/><Relationship Id="rId39" Type="http://schemas.openxmlformats.org/officeDocument/2006/relationships/tags" Target="../tags/tag71.xml"/><Relationship Id="rId21" Type="http://schemas.openxmlformats.org/officeDocument/2006/relationships/tags" Target="../tags/tag53.xml"/><Relationship Id="rId34" Type="http://schemas.openxmlformats.org/officeDocument/2006/relationships/tags" Target="../tags/tag66.xml"/><Relationship Id="rId42" Type="http://schemas.openxmlformats.org/officeDocument/2006/relationships/tags" Target="../tags/tag74.xml"/><Relationship Id="rId47" Type="http://schemas.openxmlformats.org/officeDocument/2006/relationships/tags" Target="../tags/tag79.xml"/><Relationship Id="rId50" Type="http://schemas.openxmlformats.org/officeDocument/2006/relationships/tags" Target="../tags/tag82.xml"/><Relationship Id="rId55" Type="http://schemas.openxmlformats.org/officeDocument/2006/relationships/oleObject" Target="../embeddings/oleObject13.bin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9" Type="http://schemas.openxmlformats.org/officeDocument/2006/relationships/tags" Target="../tags/tag61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32" Type="http://schemas.openxmlformats.org/officeDocument/2006/relationships/tags" Target="../tags/tag64.xml"/><Relationship Id="rId37" Type="http://schemas.openxmlformats.org/officeDocument/2006/relationships/tags" Target="../tags/tag69.xml"/><Relationship Id="rId40" Type="http://schemas.openxmlformats.org/officeDocument/2006/relationships/tags" Target="../tags/tag72.xml"/><Relationship Id="rId45" Type="http://schemas.openxmlformats.org/officeDocument/2006/relationships/tags" Target="../tags/tag77.xml"/><Relationship Id="rId53" Type="http://schemas.openxmlformats.org/officeDocument/2006/relationships/tags" Target="../tags/tag85.xml"/><Relationship Id="rId5" Type="http://schemas.openxmlformats.org/officeDocument/2006/relationships/tags" Target="../tags/tag37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tags" Target="../tags/tag62.xml"/><Relationship Id="rId35" Type="http://schemas.openxmlformats.org/officeDocument/2006/relationships/tags" Target="../tags/tag67.xml"/><Relationship Id="rId43" Type="http://schemas.openxmlformats.org/officeDocument/2006/relationships/tags" Target="../tags/tag75.xml"/><Relationship Id="rId48" Type="http://schemas.openxmlformats.org/officeDocument/2006/relationships/tags" Target="../tags/tag80.xml"/><Relationship Id="rId56" Type="http://schemas.openxmlformats.org/officeDocument/2006/relationships/image" Target="../media/image1.emf"/><Relationship Id="rId8" Type="http://schemas.openxmlformats.org/officeDocument/2006/relationships/tags" Target="../tags/tag40.xml"/><Relationship Id="rId51" Type="http://schemas.openxmlformats.org/officeDocument/2006/relationships/tags" Target="../tags/tag83.xml"/><Relationship Id="rId3" Type="http://schemas.openxmlformats.org/officeDocument/2006/relationships/tags" Target="../tags/tag35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33" Type="http://schemas.openxmlformats.org/officeDocument/2006/relationships/tags" Target="../tags/tag65.xml"/><Relationship Id="rId38" Type="http://schemas.openxmlformats.org/officeDocument/2006/relationships/tags" Target="../tags/tag70.xml"/><Relationship Id="rId46" Type="http://schemas.openxmlformats.org/officeDocument/2006/relationships/tags" Target="../tags/tag78.xml"/><Relationship Id="rId20" Type="http://schemas.openxmlformats.org/officeDocument/2006/relationships/tags" Target="../tags/tag52.xml"/><Relationship Id="rId41" Type="http://schemas.openxmlformats.org/officeDocument/2006/relationships/tags" Target="../tags/tag73.xml"/><Relationship Id="rId54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tags" Target="../tags/tag60.xml"/><Relationship Id="rId36" Type="http://schemas.openxmlformats.org/officeDocument/2006/relationships/tags" Target="../tags/tag68.xml"/><Relationship Id="rId49" Type="http://schemas.openxmlformats.org/officeDocument/2006/relationships/tags" Target="../tags/tag81.xml"/><Relationship Id="rId57" Type="http://schemas.openxmlformats.org/officeDocument/2006/relationships/chart" Target="../charts/chart1.xml"/><Relationship Id="rId10" Type="http://schemas.openxmlformats.org/officeDocument/2006/relationships/tags" Target="../tags/tag42.xml"/><Relationship Id="rId31" Type="http://schemas.openxmlformats.org/officeDocument/2006/relationships/tags" Target="../tags/tag63.xml"/><Relationship Id="rId44" Type="http://schemas.openxmlformats.org/officeDocument/2006/relationships/tags" Target="../tags/tag76.xml"/><Relationship Id="rId52" Type="http://schemas.openxmlformats.org/officeDocument/2006/relationships/tags" Target="../tags/tag8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14.bin"/><Relationship Id="rId2" Type="http://schemas.openxmlformats.org/officeDocument/2006/relationships/tags" Target="../tags/tag87.xml"/><Relationship Id="rId16" Type="http://schemas.openxmlformats.org/officeDocument/2006/relationships/slideLayout" Target="../slideLayouts/slideLayout5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19" Type="http://schemas.openxmlformats.org/officeDocument/2006/relationships/chart" Target="../charts/chart2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3" Type="http://schemas.openxmlformats.org/officeDocument/2006/relationships/tags" Target="../tags/tag103.xml"/><Relationship Id="rId21" Type="http://schemas.openxmlformats.org/officeDocument/2006/relationships/oleObject" Target="../embeddings/oleObject15.bin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slideLayout" Target="../slideLayouts/slideLayout5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23" Type="http://schemas.openxmlformats.org/officeDocument/2006/relationships/chart" Target="../charts/chart3.xml"/><Relationship Id="rId10" Type="http://schemas.openxmlformats.org/officeDocument/2006/relationships/tags" Target="../tags/tag110.xml"/><Relationship Id="rId19" Type="http://schemas.openxmlformats.org/officeDocument/2006/relationships/tags" Target="../tags/tag119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Relationship Id="rId22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chart" Target="../charts/chart4.xml"/><Relationship Id="rId2" Type="http://schemas.openxmlformats.org/officeDocument/2006/relationships/tags" Target="../tags/tag121.xml"/><Relationship Id="rId16" Type="http://schemas.openxmlformats.org/officeDocument/2006/relationships/image" Target="../media/image1.emf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5" Type="http://schemas.openxmlformats.org/officeDocument/2006/relationships/tags" Target="../tags/tag124.xml"/><Relationship Id="rId15" Type="http://schemas.openxmlformats.org/officeDocument/2006/relationships/oleObject" Target="../embeddings/oleObject16.bin"/><Relationship Id="rId10" Type="http://schemas.openxmlformats.org/officeDocument/2006/relationships/tags" Target="../tags/tag129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3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6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38.xml"/><Relationship Id="rId10" Type="http://schemas.openxmlformats.org/officeDocument/2006/relationships/image" Target="../media/image27.png"/><Relationship Id="rId4" Type="http://schemas.openxmlformats.org/officeDocument/2006/relationships/tags" Target="../tags/tag137.xml"/><Relationship Id="rId9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41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2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4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5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0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30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9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10.xml"/><Relationship Id="rId7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66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7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tags" Target="../tags/tag185.xml"/><Relationship Id="rId18" Type="http://schemas.openxmlformats.org/officeDocument/2006/relationships/tags" Target="../tags/tag190.xml"/><Relationship Id="rId26" Type="http://schemas.openxmlformats.org/officeDocument/2006/relationships/oleObject" Target="../embeddings/oleObject38.bin"/><Relationship Id="rId3" Type="http://schemas.openxmlformats.org/officeDocument/2006/relationships/tags" Target="../tags/tag175.xml"/><Relationship Id="rId21" Type="http://schemas.openxmlformats.org/officeDocument/2006/relationships/tags" Target="../tags/tag193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17" Type="http://schemas.openxmlformats.org/officeDocument/2006/relationships/tags" Target="../tags/tag189.xml"/><Relationship Id="rId25" Type="http://schemas.openxmlformats.org/officeDocument/2006/relationships/slideLayout" Target="../slideLayouts/slideLayout5.xml"/><Relationship Id="rId2" Type="http://schemas.openxmlformats.org/officeDocument/2006/relationships/tags" Target="../tags/tag174.xml"/><Relationship Id="rId16" Type="http://schemas.openxmlformats.org/officeDocument/2006/relationships/tags" Target="../tags/tag188.xml"/><Relationship Id="rId20" Type="http://schemas.openxmlformats.org/officeDocument/2006/relationships/tags" Target="../tags/tag192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24" Type="http://schemas.openxmlformats.org/officeDocument/2006/relationships/tags" Target="../tags/tag196.xml"/><Relationship Id="rId5" Type="http://schemas.openxmlformats.org/officeDocument/2006/relationships/tags" Target="../tags/tag177.xml"/><Relationship Id="rId15" Type="http://schemas.openxmlformats.org/officeDocument/2006/relationships/tags" Target="../tags/tag187.xml"/><Relationship Id="rId23" Type="http://schemas.openxmlformats.org/officeDocument/2006/relationships/tags" Target="../tags/tag195.xml"/><Relationship Id="rId28" Type="http://schemas.openxmlformats.org/officeDocument/2006/relationships/chart" Target="../charts/chart5.xml"/><Relationship Id="rId10" Type="http://schemas.openxmlformats.org/officeDocument/2006/relationships/tags" Target="../tags/tag182.xml"/><Relationship Id="rId19" Type="http://schemas.openxmlformats.org/officeDocument/2006/relationships/tags" Target="../tags/tag191.xml"/><Relationship Id="rId4" Type="http://schemas.openxmlformats.org/officeDocument/2006/relationships/tags" Target="../tags/tag176.xml"/><Relationship Id="rId9" Type="http://schemas.openxmlformats.org/officeDocument/2006/relationships/tags" Target="../tags/tag181.xml"/><Relationship Id="rId14" Type="http://schemas.openxmlformats.org/officeDocument/2006/relationships/tags" Target="../tags/tag186.xml"/><Relationship Id="rId22" Type="http://schemas.openxmlformats.org/officeDocument/2006/relationships/tags" Target="../tags/tag194.xml"/><Relationship Id="rId27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image" Target="../media/image1.emf"/><Relationship Id="rId5" Type="http://schemas.openxmlformats.org/officeDocument/2006/relationships/tags" Target="../tags/tag205.xml"/><Relationship Id="rId10" Type="http://schemas.openxmlformats.org/officeDocument/2006/relationships/oleObject" Target="../embeddings/oleObject41.bin"/><Relationship Id="rId4" Type="http://schemas.openxmlformats.org/officeDocument/2006/relationships/tags" Target="../tags/tag204.xml"/><Relationship Id="rId9" Type="http://schemas.openxmlformats.org/officeDocument/2006/relationships/notesSlide" Target="../notesSlides/notesSlide3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birchesgroup.com/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mailto:info@birchesgroup.com" TargetMode="Externa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hyperlink" Target="https://birchesgroup.com/marketmonitor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23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2.png"/><Relationship Id="rId4" Type="http://schemas.openxmlformats.org/officeDocument/2006/relationships/tags" Target="../tags/tag14.xml"/><Relationship Id="rId9" Type="http://schemas.openxmlformats.org/officeDocument/2006/relationships/image" Target="../media/image21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8.xml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E7A186-5369-6745-E476-0606EF8B5F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0612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E7A186-5369-6745-E476-0606EF8B5F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823" y="2429062"/>
            <a:ext cx="6775311" cy="1682107"/>
          </a:xfrm>
          <a:prstGeom prst="rect">
            <a:avLst/>
          </a:prstGeom>
          <a:ln>
            <a:noFill/>
          </a:ln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40F3497-AA7B-FDBB-C8E2-30675F916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naging Compensation in Volatile Economic Condit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body" idx="1"/>
          </p:nvPr>
        </p:nvSpPr>
        <p:spPr>
          <a:xfrm>
            <a:off x="491315" y="3270116"/>
            <a:ext cx="2409541" cy="647460"/>
          </a:xfrm>
        </p:spPr>
        <p:txBody>
          <a:bodyPr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October 9, 2025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Bond Webinar</a:t>
            </a:r>
          </a:p>
        </p:txBody>
      </p:sp>
    </p:spTree>
    <p:extLst>
      <p:ext uri="{BB962C8B-B14F-4D97-AF65-F5344CB8AC3E}">
        <p14:creationId xmlns:p14="http://schemas.microsoft.com/office/powerpoint/2010/main" val="2213166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E7B9A0A-F449-F1AE-ADA1-9C7AD4A7D1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2826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44" imgH="344" progId="TCLayout.ActiveDocument.1">
                  <p:embed/>
                </p:oleObj>
              </mc:Choice>
              <mc:Fallback>
                <p:oleObj name="think-cell Slide" r:id="rId55" imgW="344" imgH="3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B9A0A-F449-F1AE-ADA1-9C7AD4A7D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" name="Rectangle 347">
            <a:extLst>
              <a:ext uri="{FF2B5EF4-FFF2-40B4-BE49-F238E27FC236}">
                <a16:creationId xmlns:a16="http://schemas.microsoft.com/office/drawing/2014/main" id="{74DE1B71-83F1-9913-2977-EBC6A925B5BC}"/>
              </a:ext>
            </a:extLst>
          </p:cNvPr>
          <p:cNvSpPr/>
          <p:nvPr/>
        </p:nvSpPr>
        <p:spPr>
          <a:xfrm>
            <a:off x="3926541" y="1625600"/>
            <a:ext cx="4096682" cy="42100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C483EB-BA70-B3CA-214F-27D85CA10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thiopia has a long history of currency volatility</a:t>
            </a:r>
          </a:p>
        </p:txBody>
      </p:sp>
      <p:graphicFrame>
        <p:nvGraphicFramePr>
          <p:cNvPr id="389" name="Chart 388">
            <a:extLst>
              <a:ext uri="{FF2B5EF4-FFF2-40B4-BE49-F238E27FC236}">
                <a16:creationId xmlns:a16="http://schemas.microsoft.com/office/drawing/2014/main" id="{CD2AE7A8-499A-175E-38A5-66F57B05835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722790"/>
              </p:ext>
            </p:extLst>
          </p:nvPr>
        </p:nvGraphicFramePr>
        <p:xfrm>
          <a:off x="719138" y="2332038"/>
          <a:ext cx="10790237" cy="3476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ED555496-C4EA-57C5-208E-E09D68470AB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38200" y="4092575"/>
            <a:ext cx="26289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7" name="Straight Connector 286">
            <a:extLst>
              <a:ext uri="{FF2B5EF4-FFF2-40B4-BE49-F238E27FC236}">
                <a16:creationId xmlns:a16="http://schemas.microsoft.com/office/drawing/2014/main" id="{E0083629-C338-2882-DD00-DC82C4DB5A2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838200" y="4092575"/>
            <a:ext cx="0" cy="8128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C6638310-21B7-33E0-AB7B-F80B5F92A76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467100" y="40925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5" name="Straight Connector 294">
            <a:extLst>
              <a:ext uri="{FF2B5EF4-FFF2-40B4-BE49-F238E27FC236}">
                <a16:creationId xmlns:a16="http://schemas.microsoft.com/office/drawing/2014/main" id="{B1FA626C-E20B-EE24-DE87-F9472F4500B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4124325" y="2719388"/>
            <a:ext cx="0" cy="14970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Straight Connector 301">
            <a:extLst>
              <a:ext uri="{FF2B5EF4-FFF2-40B4-BE49-F238E27FC236}">
                <a16:creationId xmlns:a16="http://schemas.microsoft.com/office/drawing/2014/main" id="{15B4E51E-9032-028F-A668-CAE44E6C5CC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124325" y="2719388"/>
            <a:ext cx="36147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3" name="Straight Connector 302">
            <a:extLst>
              <a:ext uri="{FF2B5EF4-FFF2-40B4-BE49-F238E27FC236}">
                <a16:creationId xmlns:a16="http://schemas.microsoft.com/office/drawing/2014/main" id="{D40E15B0-095E-B927-5E8A-AFBA80FA4616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739063" y="27193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A216A085-F7DA-88EE-62E5-D9B0A2F2423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8396288" y="2330450"/>
            <a:ext cx="0" cy="5349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24EE6406-8BAE-F452-88BD-D02C7FB06AD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396289" y="2330450"/>
            <a:ext cx="29575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31DE826E-3396-2172-1F3F-87182B65957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1353800" y="23304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356100" y="5616575"/>
            <a:ext cx="1936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5BB492-70D9-4F50-957D-EFB49164AED6}" type="datetime'''''''''''F''''''''''''eb'''''''">
              <a:rPr lang="en-US" altLang="en-US" sz="800" b="1" smtClean="0"/>
              <a:pPr/>
              <a:t>Feb</a:t>
            </a:fld>
            <a:endParaRPr lang="en-US" sz="800" b="1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73600" y="5616575"/>
            <a:ext cx="2159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300292-DAE3-40BA-A99A-FF1E863E6BE0}" type="datetime'''''''''''''M''''''''''''''''''''a''''''''''''r'''''''">
              <a:rPr lang="en-US" altLang="en-US" sz="800" b="1" smtClean="0"/>
              <a:pPr/>
              <a:t>Mar</a:t>
            </a:fld>
            <a:endParaRPr lang="en-US" sz="800" b="1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13325" y="5616575"/>
            <a:ext cx="1936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75FE8BC-CC8C-447D-88FC-CBE8CAE4AD15}" type="datetime'''''''''''''''''''''A''''''''''''''''''''''''''pr'''''">
              <a:rPr lang="en-US" altLang="en-US" sz="800" b="1" smtClean="0"/>
              <a:pPr/>
              <a:t>Apr</a:t>
            </a:fld>
            <a:endParaRPr lang="en-US" sz="800" b="1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326063" y="5616575"/>
            <a:ext cx="2270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523D48-DA3A-408A-98AE-B04337196F90}" type="datetime'''''''''''M''''''''''''''''a''''''y'''''''''''''''''''''">
              <a:rPr lang="en-US" altLang="en-US" sz="800" b="1" smtClean="0"/>
              <a:pPr/>
              <a:t>May</a:t>
            </a:fld>
            <a:endParaRPr lang="en-US" sz="800" b="1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678488" y="5616575"/>
            <a:ext cx="1793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43AC2C-97D3-4DF7-8926-0C3207D3CB37}" type="datetime'''''''''''''''''''''J''''''u''''''''''''''''''n'''''''''">
              <a:rPr lang="en-US" altLang="en-US" sz="800" b="1" smtClean="0"/>
              <a:pPr/>
              <a:t>Jun</a:t>
            </a:fld>
            <a:endParaRPr lang="en-US" sz="800" b="1" dirty="0"/>
          </a:p>
        </p:txBody>
      </p:sp>
      <p:sp useBgFill="1">
        <p:nvSpPr>
          <p:cNvPr id="122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005513" y="3838575"/>
            <a:ext cx="180975" cy="1365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63BDEF-A6C0-4FDC-A156-9DD2D0518424}" type="datetime'''78'''''''''''">
              <a:rPr lang="en-US" altLang="en-US" sz="1000" b="1" smtClean="0">
                <a:solidFill>
                  <a:srgbClr val="2C5E28"/>
                </a:solidFill>
                <a:effectLst/>
                <a:ea typeface="Open Sans" panose="020B0606030504020204" pitchFamily="34" charset="0"/>
              </a:rPr>
              <a:pPr/>
              <a:t>78</a:t>
            </a:fld>
            <a:endParaRPr lang="en-US" sz="1000" b="1" dirty="0">
              <a:solidFill>
                <a:srgbClr val="2C5E2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024563" y="5616575"/>
            <a:ext cx="1444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02DF22-1BF7-4F1C-8824-B06BED6369AB}" type="datetime'J''u''''''''''l'''''''''''''''''''''''''''''''''''''''''''''">
              <a:rPr lang="en-US" altLang="en-US" sz="800" b="1" smtClean="0"/>
              <a:pPr/>
              <a:t>Jul</a:t>
            </a:fld>
            <a:endParaRPr lang="en-US" sz="800" b="1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321425" y="5616575"/>
            <a:ext cx="2063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5BDF271-8C97-456B-8961-364862FC4087}" type="datetime'''''''''''''''''''''''A''''''''''u''''''''''''''''''g'''''''''">
              <a:rPr lang="en-US" altLang="en-US" sz="800" b="1" smtClean="0"/>
              <a:pPr/>
              <a:t>Aug</a:t>
            </a:fld>
            <a:endParaRPr lang="en-US" sz="800" b="1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656388" y="5616575"/>
            <a:ext cx="1936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87147B0-B921-4C36-A13B-99298A8074CB}" type="datetime'''''S''''e''p'''''''''''''''''''''''''''''''''''''''''''''''''">
              <a:rPr lang="en-US" altLang="en-US" sz="800" b="1" smtClean="0"/>
              <a:pPr/>
              <a:t>Sep</a:t>
            </a:fld>
            <a:endParaRPr lang="en-US" sz="800" b="1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986588" y="5616575"/>
            <a:ext cx="1905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5F6EC2-B02B-4468-A404-37FA2B4B1DC9}" type="datetime'O''''''''c''t'''''''''''''''''''''''''''''''''''">
              <a:rPr lang="en-US" altLang="en-US" sz="800" b="1" smtClean="0"/>
              <a:pPr/>
              <a:t>Oct</a:t>
            </a:fld>
            <a:endParaRPr lang="en-US" sz="800" b="1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302500" y="5616575"/>
            <a:ext cx="2159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AE65CC-A654-4414-9B4E-B9874215C94F}" type="datetime'''''''''N''''''''''o''v'''''''''''''''''''''''''''''">
              <a:rPr lang="en-US" altLang="en-US" sz="800" b="1" smtClean="0"/>
              <a:pPr/>
              <a:t>Nov</a:t>
            </a:fld>
            <a:endParaRPr lang="en-US" sz="800" b="1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639050" y="5616575"/>
            <a:ext cx="2000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6864FB-B4B3-40C6-A646-2924C032FD3B}" type="datetime'''''''''''''''''D''''''''''''ec'''">
              <a:rPr lang="en-US" altLang="en-US" sz="800" b="1" smtClean="0"/>
              <a:pPr/>
              <a:t>Dec</a:t>
            </a:fld>
            <a:endParaRPr lang="en-US" sz="800" b="1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357438" y="5616575"/>
            <a:ext cx="2476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DB4F8EC-59E2-4F70-A20D-DE3B7C0D6F24}" type="datetime'''''2''''0''''''''''''''2''0'''''''''''''''''''">
              <a:rPr lang="en-US" altLang="en-US" sz="800" b="1" smtClean="0"/>
              <a:pPr/>
              <a:t>2020</a:t>
            </a:fld>
            <a:endParaRPr lang="en-US" sz="800" b="1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628063" y="5616575"/>
            <a:ext cx="1936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BEFED1-A147-400F-B572-35D324075642}" type="datetime'''''''''''Fe''''b'''''''''''''">
              <a:rPr lang="en-US" altLang="en-US" sz="800" b="1" smtClean="0"/>
              <a:pPr/>
              <a:t>Feb</a:t>
            </a:fld>
            <a:endParaRPr lang="en-US" sz="800" b="1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945563" y="5616575"/>
            <a:ext cx="2159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78AC30-71FB-43B0-BF78-2D8C5BAC0582}" type="datetime'''''Mar'''''">
              <a:rPr lang="en-US" altLang="en-US" sz="800" b="1" smtClean="0"/>
              <a:pPr/>
              <a:t>Mar</a:t>
            </a:fld>
            <a:endParaRPr lang="en-US" sz="800" b="1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285288" y="5616575"/>
            <a:ext cx="1936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DE67D3-E569-4D29-B81D-809045134BE8}" type="datetime'Ap''''''''''''''''''r'''''">
              <a:rPr lang="en-US" altLang="en-US" sz="800" b="1" smtClean="0"/>
              <a:pPr/>
              <a:t>Apr</a:t>
            </a:fld>
            <a:endParaRPr lang="en-US" sz="800" b="1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598025" y="5616575"/>
            <a:ext cx="2270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970430-B85B-497D-AC1A-C67F3432ABF9}" type="datetime'''''''''''''''''M''''''''''''''''''''a''''''y'''''''''''''''''">
              <a:rPr lang="en-US" altLang="en-US" sz="800" b="1" smtClean="0"/>
              <a:pPr/>
              <a:t>May</a:t>
            </a:fld>
            <a:endParaRPr lang="en-US" sz="800" b="1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950450" y="5616575"/>
            <a:ext cx="1793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3DBD3B-1748-48DD-98C1-D5E3477194E8}" type="datetime'''''''''''''''''''''''J''''''''''''''''''''u''''''''''n'''''''">
              <a:rPr lang="en-US" altLang="en-US" sz="800" b="1" smtClean="0"/>
              <a:pPr/>
              <a:t>Jun</a:t>
            </a:fld>
            <a:endParaRPr lang="en-US" sz="800" b="1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296525" y="5616575"/>
            <a:ext cx="1444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7FF31F-497F-49AF-AED3-F50C9C4B648D}" type="datetime'Ju''l'''''''''''''">
              <a:rPr lang="en-US" altLang="en-US" sz="800" b="1" smtClean="0"/>
              <a:pPr/>
              <a:t>Jul</a:t>
            </a:fld>
            <a:endParaRPr lang="en-US" sz="800" b="1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593388" y="5616575"/>
            <a:ext cx="2063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FF90BD4-6B8E-4AB3-B973-C6198CDE45B6}" type="datetime'''''''''''''''''''Au''''''g'''''''''''''''''''''''">
              <a:rPr lang="en-US" altLang="en-US" sz="800" b="1" smtClean="0"/>
              <a:pPr/>
              <a:t>Aug</a:t>
            </a:fld>
            <a:endParaRPr lang="en-US" sz="800" b="1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928350" y="5616575"/>
            <a:ext cx="1936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068B1F-BA18-4DDC-8AB3-538DDB72459C}" type="datetime'''''''''S''''''''e''p'''''''''''''''''''''''''''''''''">
              <a:rPr lang="en-US" altLang="en-US" sz="800" b="1" smtClean="0"/>
              <a:pPr/>
              <a:t>Sep</a:t>
            </a:fld>
            <a:endParaRPr lang="en-US" sz="800" b="1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1258550" y="5616575"/>
            <a:ext cx="1905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0F61DC-2D87-4089-803B-1310F433FC4E}" type="datetime'''''''''''''O''''''c''t'''">
              <a:rPr lang="en-US" altLang="en-US" sz="800" b="1" smtClean="0"/>
              <a:pPr/>
              <a:t>Oct</a:t>
            </a:fld>
            <a:endParaRPr lang="en-US" sz="800" b="1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14375" y="5616575"/>
            <a:ext cx="2476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F1517D-1457-430E-8268-1AAA7E18AEB8}" type="datetime'2''''''''''''01''5'''''''''''''''''''''''''">
              <a:rPr lang="en-US" altLang="en-US" sz="800" b="1" smtClean="0"/>
              <a:pPr/>
              <a:t>2015</a:t>
            </a:fld>
            <a:endParaRPr lang="en-US" sz="800" b="1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42988" y="5616575"/>
            <a:ext cx="2476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B9FA31C-9402-420A-B846-CF2D542CB28F}" type="datetime'''''2''''''''''''''''''''''''''''''''''0''''''''1''''''''''6'">
              <a:rPr lang="en-US" altLang="en-US" sz="800" b="1" smtClean="0"/>
              <a:pPr/>
              <a:t>2016</a:t>
            </a:fld>
            <a:endParaRPr lang="en-US" sz="800" b="1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371600" y="5616575"/>
            <a:ext cx="2476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382011-B6F0-42C9-8F56-325EFEB7307E}" type="datetime'''''''''''''2''''''''''''''''0''''''''''''1''''7'''''''''">
              <a:rPr lang="en-US" altLang="en-US" sz="800" b="1" smtClean="0"/>
              <a:pPr/>
              <a:t>2017</a:t>
            </a:fld>
            <a:endParaRPr lang="en-US" sz="800" b="1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700213" y="5616575"/>
            <a:ext cx="2476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C6FAC5-42CE-44F3-99D4-B0B9519C7127}" type="datetime'''''2''''''''''0''''''''''''''''''18'''''">
              <a:rPr lang="en-US" altLang="en-US" sz="800" b="1" smtClean="0"/>
              <a:pPr/>
              <a:t>2018</a:t>
            </a:fld>
            <a:endParaRPr lang="en-US" sz="800" b="1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028825" y="5616575"/>
            <a:ext cx="2476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BBAF81-2AC1-4036-966E-B98777FB8C81}" type="datetime'''2''''''''0''''''19'''''''''''''''''''''">
              <a:rPr lang="en-US" altLang="en-US" sz="800" b="1" smtClean="0"/>
              <a:pPr/>
              <a:t>2019</a:t>
            </a:fld>
            <a:endParaRPr lang="en-US" sz="800" b="1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308975" y="5616575"/>
            <a:ext cx="1746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DEAB61-F634-447C-9415-DE953C9B3BC1}" type="datetime'''''''J''''''''''''''a''''''''''''n'''">
              <a:rPr lang="en-US" altLang="en-US" sz="800" b="1" smtClean="0"/>
              <a:pPr/>
              <a:t>Jan</a:t>
            </a:fld>
            <a:endParaRPr lang="en-US" sz="800" b="1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686050" y="5616575"/>
            <a:ext cx="2476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3A48CA-7553-45A5-9CCE-99949F39FD2C}" type="datetime'''''''20''''''''2''''''''1'''''''''''''''''''''">
              <a:rPr lang="en-US" altLang="en-US" sz="800" b="1" smtClean="0"/>
              <a:pPr/>
              <a:t>2021</a:t>
            </a:fld>
            <a:endParaRPr lang="en-US" sz="800" b="1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014663" y="5616575"/>
            <a:ext cx="2476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1951C4-2998-4F73-8827-E282412A28EE}" type="datetime'''2''''''0''''''''2''''''''''''''''''''''''''''''''''2'''">
              <a:rPr lang="en-US" altLang="en-US" sz="800" b="1" smtClean="0"/>
              <a:pPr/>
              <a:t>2022</a:t>
            </a:fld>
            <a:endParaRPr lang="en-US" sz="800" b="1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343275" y="5616575"/>
            <a:ext cx="2476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2D48D1-26C0-4E4C-82B4-985C74712183}" type="datetime'''''''''''''''''''2''''''0''2''''''3'''''''''''''''''''">
              <a:rPr lang="en-US" altLang="en-US" sz="800" b="1" smtClean="0"/>
              <a:pPr/>
              <a:t>2023</a:t>
            </a:fld>
            <a:endParaRPr lang="en-US" sz="800" b="1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037013" y="5616575"/>
            <a:ext cx="1746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122780D-9EE3-4BB7-BD0D-7F0D8691F6FF}" type="datetime'''''''J''''''''''''''''''''''a''''''n'''''''''''''''''''''">
              <a:rPr lang="en-US" altLang="en-US" sz="800" b="1" smtClean="0"/>
              <a:pPr/>
              <a:t>Jan</a:t>
            </a:fld>
            <a:endParaRPr lang="en-US" sz="800" b="1" dirty="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644650" y="3956050"/>
            <a:ext cx="1017588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F8C091-982D-405C-9E89-26CD9CB1E92D}" type="datetime'''''''''+''''''1''''''6''''''''''''''''''1''.7%'''''''''">
              <a:rPr lang="en-US" altLang="en-US" sz="1400" b="1" smtClean="0">
                <a:effectLst/>
              </a:rPr>
              <a:pPr/>
              <a:t>+161.7%</a:t>
            </a:fld>
            <a:endParaRPr lang="en-US" sz="1400" b="1" dirty="0"/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422900" y="2582863"/>
            <a:ext cx="1017588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5774FD-2D6A-43A8-83B1-F9377B92F1A4}" type="datetime'+''''1''''''''''''2''''''''''2''.7''''''''''''''''%'''">
              <a:rPr lang="en-US" altLang="en-US" sz="1400" b="1" smtClean="0">
                <a:effectLst/>
              </a:rPr>
              <a:pPr/>
              <a:t>+122.7%</a:t>
            </a:fld>
            <a:endParaRPr lang="en-US" sz="1400" b="1" dirty="0"/>
          </a:p>
        </p:txBody>
      </p:sp>
      <p:sp>
        <p:nvSpPr>
          <p:cNvPr id="31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9437689" y="2193925"/>
            <a:ext cx="874713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64A6F8-3815-403B-B623-72DD2FCA1846}" type="datetime'''''''''''''+''''''''''1''''5''''''.6%'''''''''''''''">
              <a:rPr lang="en-US" altLang="en-US" sz="1400" b="1" smtClean="0">
                <a:effectLst/>
              </a:rPr>
              <a:pPr/>
              <a:t>+15.6%</a:t>
            </a:fld>
            <a:endParaRPr lang="en-US" sz="1400" b="1" dirty="0"/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38200" y="1490663"/>
            <a:ext cx="10515600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60325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Exchange Rate History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1 USD:ETB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i="1" dirty="0"/>
              <a:t>2015 - 2025</a:t>
            </a: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8F7224C2-46E0-2ACA-ADC2-FF9BE265155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8421689" y="1871663"/>
            <a:ext cx="2932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effectLst/>
                <a:latin typeface="Open Sans" panose="020B0606030504020204" pitchFamily="34" charset="0"/>
                <a:cs typeface="Open Sans" panose="020B0606030504020204" pitchFamily="34" charset="0"/>
              </a:rPr>
              <a:t>YTD 2025 (monthly)</a:t>
            </a:r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0" name="Text Placeholder 2">
            <a:extLst>
              <a:ext uri="{FF2B5EF4-FFF2-40B4-BE49-F238E27FC236}">
                <a16:creationId xmlns:a16="http://schemas.microsoft.com/office/drawing/2014/main" id="{32B3AF7E-5E81-FF1D-C84C-05E85727769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42950" y="3597275"/>
            <a:ext cx="3016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effectLst/>
                <a:latin typeface="Open Sans" panose="020B0606030504020204" pitchFamily="34" charset="0"/>
                <a:cs typeface="Open Sans" panose="020B0606030504020204" pitchFamily="34" charset="0"/>
              </a:rPr>
              <a:t>2015 – 2023 (8 Years)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>
                <a:latin typeface="Open Sans" panose="020B0606030504020204" pitchFamily="34" charset="0"/>
                <a:cs typeface="Open Sans" panose="020B0606030504020204" pitchFamily="34" charset="0"/>
              </a:rPr>
              <a:t>(average for the year)</a:t>
            </a:r>
          </a:p>
        </p:txBody>
      </p:sp>
      <p:sp>
        <p:nvSpPr>
          <p:cNvPr id="330" name="Text Placeholder 2">
            <a:extLst>
              <a:ext uri="{FF2B5EF4-FFF2-40B4-BE49-F238E27FC236}">
                <a16:creationId xmlns:a16="http://schemas.microsoft.com/office/drawing/2014/main" id="{CC294AE1-C22B-1346-6662-FD6AFC18E56D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173538" y="2036763"/>
            <a:ext cx="36115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0" rIns="0" bIns="219075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effectLst/>
                <a:latin typeface="Open Sans" panose="020B0606030504020204" pitchFamily="34" charset="0"/>
                <a:cs typeface="Open Sans" panose="020B0606030504020204" pitchFamily="34" charset="0"/>
              </a:rPr>
              <a:t>2024 (monthly)</a:t>
            </a:r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199188" y="3941763"/>
            <a:ext cx="1824038" cy="1260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4763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200" b="1" dirty="0"/>
              <a:t>2024 was a very challenging year from July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200" b="1" dirty="0"/>
              <a:t>Devaluation was almost as great as the prior 8 years combined</a:t>
            </a:r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042400" y="3941763"/>
            <a:ext cx="18002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1905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effectLst/>
              </a:rPr>
              <a:t>2025 has been </a:t>
            </a:r>
            <a:r>
              <a:rPr lang="en-US" altLang="en-US" sz="1200" b="1" i="1" dirty="0">
                <a:effectLst/>
              </a:rPr>
              <a:t>relatively</a:t>
            </a:r>
            <a:r>
              <a:rPr lang="en-US" altLang="en-US" sz="1200" b="1" dirty="0">
                <a:effectLst/>
              </a:rPr>
              <a:t> stable</a:t>
            </a:r>
            <a:endParaRPr lang="en-US" sz="1200" b="1" dirty="0"/>
          </a:p>
        </p:txBody>
      </p:sp>
      <p:sp>
        <p:nvSpPr>
          <p:cNvPr id="375" name="Text Placeholder 2">
            <a:extLst>
              <a:ext uri="{FF2B5EF4-FFF2-40B4-BE49-F238E27FC236}">
                <a16:creationId xmlns:a16="http://schemas.microsoft.com/office/drawing/2014/main" id="{AA18C371-4E45-B05C-0181-0A5D4C297DB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38199" y="2725738"/>
            <a:ext cx="3087688" cy="39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60325" tIns="60325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effectLst/>
                <a:latin typeface="Open Sans" panose="020B0606030504020204" pitchFamily="34" charset="0"/>
                <a:cs typeface="Open Sans" panose="020B0606030504020204" pitchFamily="34" charset="0"/>
              </a:rPr>
              <a:t>Historically, devaluation averaged about 20% per year</a:t>
            </a:r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22374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6608F8-1816-1C0D-FE77-3D4C18EEF8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9AC019C-7C94-6107-0428-84974F8175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6169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4" imgH="344" progId="TCLayout.ActiveDocument.1">
                  <p:embed/>
                </p:oleObj>
              </mc:Choice>
              <mc:Fallback>
                <p:oleObj name="think-cell Slide" r:id="rId17" imgW="344" imgH="3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AC019C-7C94-6107-0428-84974F8175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B763B1-DD80-CCFD-7021-B28F2FC44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flation is high, causing purchasing power to deteriorate</a:t>
            </a:r>
          </a:p>
        </p:txBody>
      </p:sp>
      <p:graphicFrame>
        <p:nvGraphicFramePr>
          <p:cNvPr id="327" name="Chart 326">
            <a:extLst>
              <a:ext uri="{FF2B5EF4-FFF2-40B4-BE49-F238E27FC236}">
                <a16:creationId xmlns:a16="http://schemas.microsoft.com/office/drawing/2014/main" id="{7414142C-99CC-F07A-EF32-71B48BCCA7E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669472"/>
              </p:ext>
            </p:extLst>
          </p:nvPr>
        </p:nvGraphicFramePr>
        <p:xfrm>
          <a:off x="1060450" y="2286000"/>
          <a:ext cx="9140825" cy="2579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101725" y="4649788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B947E3-4858-4469-886F-6FE580BA44B0}" type="datetime'''''''''''''''''2''''''''0''''''''''''''1''''''''''''''''''5'">
              <a:rPr lang="en-US" altLang="en-US" sz="1200" b="1" smtClean="0"/>
              <a:pPr/>
              <a:t>2015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966913" y="4649788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2A80DA-398D-44B7-AFE5-44414C814F25}" type="datetime'''''''''''''''''''''''''''''2''''0''''''''''''''''''''''1''6'">
              <a:rPr lang="en-US" altLang="en-US" sz="1200" b="1" smtClean="0"/>
              <a:pPr/>
              <a:t>2016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832100" y="4649788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59F679-4319-49CC-A439-950BEDA6F7D5}" type="datetime'''''''20''17'''''''''''''''''''''''''''''''''''''''''''''''">
              <a:rPr lang="en-US" altLang="en-US" sz="1200" b="1" smtClean="0"/>
              <a:pPr/>
              <a:t>2017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697288" y="4649788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594D80D-9FC5-479F-8D3E-248A9D11C0B6}" type="datetime'''''''''''''''''2''''''''0''''''''1''''''''8'''''''''''''''">
              <a:rPr lang="en-US" altLang="en-US" sz="1200" b="1" smtClean="0"/>
              <a:pPr/>
              <a:t>2018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62475" y="4649788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B0427B-C7EF-4F3C-9B29-AB14ACEEFAF0}" type="datetime'''2''''''''''''''''''''''''''''''''''01''''''''''9'''">
              <a:rPr lang="en-US" altLang="en-US" sz="1200" b="1" smtClean="0"/>
              <a:pPr/>
              <a:t>2019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427663" y="4649788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1E4EB3-0E02-46F7-B52C-5F6FBB8FB11C}" type="datetime'''''2''''''''''0''''''2''''''0'">
              <a:rPr lang="en-US" altLang="en-US" sz="1200" b="1" smtClean="0"/>
              <a:pPr/>
              <a:t>2020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292850" y="4649788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D2DB68-63ED-4918-A017-E4269ACE5935}" type="datetime'''2''''''0''''2''''''''''''''''''1'''''''''''''''''''''''">
              <a:rPr lang="en-US" altLang="en-US" sz="1200" b="1" smtClean="0"/>
              <a:pPr/>
              <a:t>2021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58038" y="4649788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4926663-4E26-4C72-A108-F2078E689939}" type="datetime'''''2''''''''''''''''''''''''''''''''''''''''0''2''2'''''">
              <a:rPr lang="en-US" altLang="en-US" sz="1200" b="1" smtClean="0"/>
              <a:pPr/>
              <a:t>2022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023225" y="4649788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2A4A4C-DFF8-4157-AB89-B20369C0A35C}" type="datetime'''20''''''''''''''''''''''''''2''''''''''''3'''''">
              <a:rPr lang="en-US" altLang="en-US" sz="1200" b="1" smtClean="0"/>
              <a:pPr/>
              <a:t>2023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845550" y="4649788"/>
            <a:ext cx="44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D45B06-F994-4CE2-B586-08685B00DD36}" type="datetime'''''''''''''2''''''''''''''''02''''''''''''''4''E'''''''''''">
              <a:rPr lang="en-US" altLang="en-US" sz="1200" b="1" smtClean="0"/>
              <a:pPr/>
              <a:t>2024E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710738" y="4649788"/>
            <a:ext cx="44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539FE1-A5A0-4BAB-8061-F0DAAE5E56F7}" type="datetime'''''''2''''''''''0''''''2''''5E'''''''''''''">
              <a:rPr lang="en-US" altLang="en-US" sz="1200" b="1" smtClean="0"/>
              <a:pPr/>
              <a:t>2025E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4" name="Text Placeholder 2">
            <a:extLst>
              <a:ext uri="{FF2B5EF4-FFF2-40B4-BE49-F238E27FC236}">
                <a16:creationId xmlns:a16="http://schemas.microsoft.com/office/drawing/2014/main" id="{CE26E0AA-CB0E-27CF-13BF-EB21234173D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38200" y="1522413"/>
            <a:ext cx="105156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/>
              <a:t>Annual Inflation Rate - Ethiopia</a:t>
            </a:r>
            <a:endParaRPr lang="en-US" altLang="en-US" sz="1400" b="1" dirty="0">
              <a:effectLst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i="1" dirty="0"/>
              <a:t>2015 - 2025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E2F6FAA9-2096-7C7C-6F4A-C7E4776549C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38200" y="5375275"/>
            <a:ext cx="3182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4765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latin typeface="Open Sans" panose="020B0606030504020204" pitchFamily="34" charset="0"/>
                <a:cs typeface="Open Sans" panose="020B0606030504020204" pitchFamily="34" charset="0"/>
              </a:rPr>
              <a:t>Source:  OECD Database</a:t>
            </a:r>
            <a:endParaRPr lang="en-US" altLang="en-US" sz="1000" dirty="0">
              <a:effectLst/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0960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D08B-C102-5A6F-D03D-3F0C504275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EF43361-B064-5904-0635-597A3F81F4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0393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4" imgH="344" progId="TCLayout.ActiveDocument.1">
                  <p:embed/>
                </p:oleObj>
              </mc:Choice>
              <mc:Fallback>
                <p:oleObj name="think-cell Slide" r:id="rId21" imgW="344" imgH="3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F43361-B064-5904-0635-597A3F81F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8" name="Rectangle 297">
            <a:extLst>
              <a:ext uri="{FF2B5EF4-FFF2-40B4-BE49-F238E27FC236}">
                <a16:creationId xmlns:a16="http://schemas.microsoft.com/office/drawing/2014/main" id="{780D0122-C41B-A9DE-F690-A97FDE1D0931}"/>
              </a:ext>
            </a:extLst>
          </p:cNvPr>
          <p:cNvSpPr/>
          <p:nvPr/>
        </p:nvSpPr>
        <p:spPr>
          <a:xfrm>
            <a:off x="7566212" y="1371600"/>
            <a:ext cx="2823882" cy="43576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304F0E-4579-20B2-F3E2-F64D4C94B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ypically, inflation and devaluation don’t differ much, though devaluation is often a leading indicator</a:t>
            </a:r>
          </a:p>
        </p:txBody>
      </p:sp>
      <p:graphicFrame>
        <p:nvGraphicFramePr>
          <p:cNvPr id="354" name="Chart 353">
            <a:extLst>
              <a:ext uri="{FF2B5EF4-FFF2-40B4-BE49-F238E27FC236}">
                <a16:creationId xmlns:a16="http://schemas.microsoft.com/office/drawing/2014/main" id="{E4C4A128-80C1-7CEE-778F-2A853F178DE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404679"/>
              </p:ext>
            </p:extLst>
          </p:nvPr>
        </p:nvGraphicFramePr>
        <p:xfrm>
          <a:off x="755650" y="2024063"/>
          <a:ext cx="10680700" cy="3705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A46B9130-E0FF-8071-00FD-59DB09E54D0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135063" y="5554663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B947E3-4858-4469-886F-6FE580BA44B0}" type="datetime'''''''''''''''''2''''''''0''''''''''''''1''''''''''''''''''5'">
              <a:rPr lang="en-US" altLang="en-US" sz="1200" b="1" smtClean="0"/>
              <a:pPr/>
              <a:t>2015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22BC7521-4BDA-35E3-8EAE-AF4B2FF78E3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090738" y="5554663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2A80DA-398D-44B7-AFE5-44414C814F25}" type="datetime'''''''''''''''''''''''''''''2''''0''''''''''''''''''''''1''6'">
              <a:rPr lang="en-US" altLang="en-US" sz="1200" b="1" smtClean="0"/>
              <a:pPr/>
              <a:t>2016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B47A5EAF-94CE-7F1B-AAF9-E3F68C07534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046413" y="5554663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59F679-4319-49CC-A439-950BEDA6F7D5}" type="datetime'''''''20''17'''''''''''''''''''''''''''''''''''''''''''''''">
              <a:rPr lang="en-US" altLang="en-US" sz="1200" b="1" smtClean="0"/>
              <a:pPr/>
              <a:t>2017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8413A202-A10A-3EDF-0419-69AAADA5FAF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003675" y="5554663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594D80D-9FC5-479F-8D3E-248A9D11C0B6}" type="datetime'''''''''''''''''2''''''''0''''''''1''''''''8'''''''''''''''">
              <a:rPr lang="en-US" altLang="en-US" sz="1200" b="1" smtClean="0"/>
              <a:pPr/>
              <a:t>2018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96A5ECDD-5F25-B526-ABB7-310E4B8B160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959350" y="5554663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B0427B-C7EF-4F3C-9B29-AB14ACEEFAF0}" type="datetime'''2''''''''''''''''''''''''''''''''''01''''''''''9'''">
              <a:rPr lang="en-US" altLang="en-US" sz="1200" b="1" smtClean="0"/>
              <a:pPr/>
              <a:t>2019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1D299375-63E8-6743-6B84-1EEB5185591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915025" y="5554663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1E4EB3-0E02-46F7-B52C-5F6FBB8FB11C}" type="datetime'''''2''''''''''0''''''2''''''0'">
              <a:rPr lang="en-US" altLang="en-US" sz="1200" b="1" smtClean="0"/>
              <a:pPr/>
              <a:t>2020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B7F47AD7-4C30-7713-3A90-007088EE6DA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870700" y="5554663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D2DB68-63ED-4918-A017-E4269ACE5935}" type="datetime'''2''''''0''''2''''''''''''''''''1'''''''''''''''''''''''">
              <a:rPr lang="en-US" altLang="en-US" sz="1200" b="1" smtClean="0"/>
              <a:pPr/>
              <a:t>2021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3075C93F-DE27-CD22-75CE-EB2E2E20A0C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826375" y="5554663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4926663-4E26-4C72-A108-F2078E689939}" type="datetime'''''2''''''''''''''''''''''''''''''''''''''''0''2''2'''''">
              <a:rPr lang="en-US" altLang="en-US" sz="1200" b="1" smtClean="0"/>
              <a:pPr/>
              <a:t>2022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AC9758CE-CBD4-2008-6C35-ADDB45EBB75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782050" y="5554663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2A4A4C-DFF8-4157-AB89-B20369C0A35C}" type="datetime'''20''''''''''''''''''''''''''2''''''''''''3'''''">
              <a:rPr lang="en-US" altLang="en-US" sz="1200" b="1" smtClean="0"/>
              <a:pPr/>
              <a:t>2023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FD877723-4F0E-3F9E-7265-17C56373BB1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696450" y="5554663"/>
            <a:ext cx="44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D45B06-F994-4CE2-B586-08685B00DD36}" type="datetime'''''''''''''2''''''''''''''''02''''''''''''''4''E'''''''''''">
              <a:rPr lang="en-US" altLang="en-US" sz="1200" b="1" smtClean="0"/>
              <a:pPr/>
              <a:t>2024E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57580D41-D434-6F92-E2FD-D9AE82B5215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652125" y="5554663"/>
            <a:ext cx="44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539FE1-A5A0-4BAB-8061-F0DAAE5E56F7}" type="datetime'''''''2''''''''''0''''''2''''5E'''''''''''''">
              <a:rPr lang="en-US" altLang="en-US" sz="1200" b="1" smtClean="0"/>
              <a:pPr/>
              <a:t>2025E</a:t>
            </a:fld>
            <a:endParaRPr lang="en-US" sz="12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4" name="Text Placeholder 2">
            <a:extLst>
              <a:ext uri="{FF2B5EF4-FFF2-40B4-BE49-F238E27FC236}">
                <a16:creationId xmlns:a16="http://schemas.microsoft.com/office/drawing/2014/main" id="{790A8E2B-A897-30E2-739D-291614A14A9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38200" y="1371599"/>
            <a:ext cx="10515600" cy="534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1438" tIns="0" rIns="0" bIns="150813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/>
              <a:t>Inflation and Devaluation in Ethiopia</a:t>
            </a:r>
            <a:endParaRPr lang="en-US" altLang="en-US" sz="1400" b="1" dirty="0">
              <a:effectLst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i="1" dirty="0"/>
              <a:t>2015 - 2025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A74B218-D535-62AF-2D36-12C93721442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98525" y="1860550"/>
            <a:ext cx="214313" cy="160338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4ABDDBC-5EFE-A73A-98A8-E5017F4AD34A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2044700" y="1860550"/>
            <a:ext cx="214313" cy="160338"/>
          </a:xfrm>
          <a:prstGeom prst="rect">
            <a:avLst/>
          </a:prstGeom>
          <a:solidFill>
            <a:srgbClr val="C3CFE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73E4AA3-EA40-103E-AB75-8F69BD51EA2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63638" y="1868488"/>
            <a:ext cx="7794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B6A92BA-7309-4419-A17C-25A06849738A}" type="datetime'I''''''nfl''a''''''t''''i''''''''o''''n ''(''''%'')'''">
              <a:rPr lang="en-US" altLang="en-US" sz="1200" b="1" smtClean="0">
                <a:latin typeface="+mn-lt"/>
                <a:cs typeface="+mn-cs"/>
              </a:rPr>
              <a:pPr/>
              <a:t>Inflation (%)</a:t>
            </a:fld>
            <a:endParaRPr lang="en-US" sz="1200" b="1" dirty="0">
              <a:latin typeface="+mn-lt"/>
              <a:cs typeface="+mn-cs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309813" y="1868488"/>
            <a:ext cx="1006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209313B-6F5D-4EDE-8D1B-5195FEF00844}" type="datetime'D''''''''''''''e''va''''lua''tio''''''n'' ''''(''%'')'''''''''">
              <a:rPr lang="en-US" altLang="en-US" sz="1200" b="1" smtClean="0">
                <a:latin typeface="+mn-lt"/>
                <a:cs typeface="+mn-cs"/>
              </a:rPr>
              <a:pPr/>
              <a:t>Devaluation (%)</a:t>
            </a:fld>
            <a:endParaRPr lang="en-US" sz="1200" b="1" dirty="0">
              <a:latin typeface="+mn-lt"/>
              <a:cs typeface="+mn-cs"/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38200" y="2347914"/>
            <a:ext cx="6308725" cy="143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71438" tIns="71438" rIns="7938" bIns="10318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Over the last four years, Ethiopia has been one of the most challenging African market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In 2022 and 2023, </a:t>
            </a:r>
            <a:r>
              <a:rPr lang="en-US" altLang="en-US" sz="1400" b="1" i="1" dirty="0">
                <a:effectLst/>
              </a:rPr>
              <a:t>inflation substantially exceeded devaluation</a:t>
            </a:r>
            <a:r>
              <a:rPr lang="en-US" altLang="en-US" sz="1400" i="1" dirty="0">
                <a:effectLst/>
              </a:rPr>
              <a:t>, by 16.3% and 24.8% respectively</a:t>
            </a:r>
            <a:endParaRPr lang="en-US" altLang="en-US" sz="1400" b="1" i="1" dirty="0">
              <a:effectLst/>
            </a:endParaRP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In 2024, the </a:t>
            </a:r>
            <a:r>
              <a:rPr lang="en-US" sz="1400"/>
              <a:t>pattern reversed (32.2%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964389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D7306EA-4AFF-C3E8-FE3D-AD25E8EFC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3352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4" imgH="344" progId="TCLayout.ActiveDocument.1">
                  <p:embed/>
                </p:oleObj>
              </mc:Choice>
              <mc:Fallback>
                <p:oleObj name="think-cell Slide" r:id="rId15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7306EA-4AFF-C3E8-FE3D-AD25E8EFCE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A2FF88-3594-9CE5-4BA6-24E98B27D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did the </a:t>
            </a:r>
            <a:r>
              <a:rPr lang="en-US" b="1" dirty="0"/>
              <a:t>market</a:t>
            </a:r>
            <a:r>
              <a:rPr lang="en-US" dirty="0"/>
              <a:t> do from 2024 to 2025?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277939"/>
            <a:ext cx="4946650" cy="101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38113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1200"/>
              </a:spcAft>
              <a:buNone/>
            </a:pPr>
            <a:r>
              <a:rPr lang="en-US" altLang="en-US" sz="1400" b="1" dirty="0">
                <a:effectLst/>
              </a:rPr>
              <a:t>Economic Indicators: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b="1" dirty="0">
                <a:effectLst/>
              </a:rPr>
              <a:t>Inflation</a:t>
            </a:r>
            <a:r>
              <a:rPr lang="en-US" altLang="en-US" sz="1400" dirty="0">
                <a:effectLst/>
              </a:rPr>
              <a:t>:	21.5% in 2025	26.4% from 2023-2025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b="1" dirty="0"/>
              <a:t>Devaluation</a:t>
            </a:r>
            <a:r>
              <a:rPr lang="en-US" sz="1400" dirty="0"/>
              <a:t>:	15.6% in 2025	147% from 2023-2025</a:t>
            </a:r>
          </a:p>
        </p:txBody>
      </p:sp>
      <p:graphicFrame>
        <p:nvGraphicFramePr>
          <p:cNvPr id="190" name="Chart 189">
            <a:extLst>
              <a:ext uri="{FF2B5EF4-FFF2-40B4-BE49-F238E27FC236}">
                <a16:creationId xmlns:a16="http://schemas.microsoft.com/office/drawing/2014/main" id="{DC034237-85B4-23F8-48BF-32B37DF4549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0774329"/>
              </p:ext>
            </p:extLst>
          </p:nvPr>
        </p:nvGraphicFramePr>
        <p:xfrm>
          <a:off x="755650" y="2725738"/>
          <a:ext cx="7832725" cy="359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9788" y="6075363"/>
            <a:ext cx="1911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1F923-68F4-4155-86C0-F8E7570444E1}" type="datetime'NG''O (''L''''o''cal C''''''''urren''''''''c''''''''''y'')'">
              <a:rPr lang="en-US" altLang="en-US" sz="1400" b="1" smtClean="0">
                <a:latin typeface="Open Sans" panose="020B0606030504020204" pitchFamily="34" charset="0"/>
                <a:cs typeface="Open Sans" panose="020B0606030504020204" pitchFamily="34" charset="0"/>
              </a:rPr>
              <a:pPr/>
              <a:t>NGO (Local Currency)</a:t>
            </a:fld>
            <a:endParaRPr lang="en-US" sz="14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1BF6867-CF35-6B9C-43AB-83A4C97456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770188" y="6075363"/>
            <a:ext cx="188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207C43-A9A0-44AC-835F-14D9C8AC71FF}" type="datetime'Ha''rd'''''' Cu''''''''''r''''''r''e''nc''y (N''''G''''O'')'''">
              <a:rPr lang="en-US" altLang="en-US" sz="1400" b="1" smtClean="0">
                <a:latin typeface="Open Sans" panose="020B0606030504020204" pitchFamily="34" charset="0"/>
                <a:cs typeface="Open Sans" panose="020B0606030504020204" pitchFamily="34" charset="0"/>
              </a:rPr>
              <a:pPr/>
              <a:t>Hard Currency (NGO)</a:t>
            </a:fld>
            <a:endParaRPr lang="en-US" sz="14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00167C4E-DBEF-9A52-A5FD-4AA96A95B38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757738" y="6075363"/>
            <a:ext cx="174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EDC89B-CD9E-47B4-9F3F-0881E3ED69AC}" type="datetime'Mu''''''lti''''''''''s''''''''ect''''''''or'' (’''24-’''25'')'">
              <a:rPr lang="en-US" altLang="en-US" sz="1400" b="1" smtClean="0"/>
              <a:pPr/>
              <a:t>Multisector (’24-’25)</a:t>
            </a:fld>
            <a:endParaRPr lang="en-US" sz="14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297E3D72-FC50-EFE6-A92D-08D51668955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675438" y="6075363"/>
            <a:ext cx="174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61CA309-4822-4094-9A1F-D9140E4E5806}" type="datetime'''''''Mul''t''is''e''''c''t''''o''''r'' (’2''3-''''’2''''''5)'">
              <a:rPr lang="en-US" altLang="en-US" sz="1400" b="1" smtClean="0"/>
              <a:pPr/>
              <a:t>Multisector (’23-’25)</a:t>
            </a:fld>
            <a:endParaRPr lang="en-US" sz="1400" b="1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FE2CA5E-F8CA-FD17-8263-DF3CF50EE02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98525" y="3444875"/>
            <a:ext cx="214313" cy="160338"/>
          </a:xfrm>
          <a:prstGeom prst="rect">
            <a:avLst/>
          </a:prstGeom>
          <a:solidFill>
            <a:srgbClr val="2C5E28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7CD4C92-EF71-FAC2-22F4-B43DFED4220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279650" y="3444875"/>
            <a:ext cx="214313" cy="160338"/>
          </a:xfrm>
          <a:prstGeom prst="rect">
            <a:avLst/>
          </a:prstGeom>
          <a:solidFill>
            <a:srgbClr val="32CD3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63638" y="3452813"/>
            <a:ext cx="1014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10833FD-CBED-44D2-815A-F754704AF92E}" type="datetime'Pr''''''of''ess''''i''''o''''na''''l''s'''''''''''''''''''''">
              <a:rPr lang="en-US" altLang="en-US" sz="1200" b="1" smtClean="0"/>
              <a:pPr/>
              <a:t>Professionals</a:t>
            </a:fld>
            <a:endParaRPr lang="en-US" sz="1200" b="1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44764" y="3452813"/>
            <a:ext cx="1008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848C4C7-29FF-417E-842E-854F46FF759F}" type="datetime'S''''''u''''''''pp''''''o''rt'' S''''t''''''a''f''f'''''''''">
              <a:rPr lang="en-US" altLang="en-US" sz="1200" b="1" smtClean="0"/>
              <a:pPr/>
              <a:t>Support Staff</a:t>
            </a:fld>
            <a:endParaRPr lang="en-US" sz="1200" b="1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38200" y="2703513"/>
            <a:ext cx="42846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Market Movement – Ethiopia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i="1" dirty="0"/>
              <a:t>Average Percent Increase - 2024 to 2025</a:t>
            </a: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593138" y="1277937"/>
            <a:ext cx="2760663" cy="4846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1355725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ts val="1200"/>
              </a:spcAft>
              <a:buNone/>
            </a:pPr>
            <a:r>
              <a:rPr lang="en-US" altLang="en-US" sz="1400" b="1" dirty="0">
                <a:effectLst/>
              </a:rPr>
              <a:t>Observations: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/>
              <a:t>Cumulative market movement for support staff over </a:t>
            </a:r>
            <a:r>
              <a:rPr lang="en-US" altLang="en-US" sz="1400" b="1" i="1" dirty="0"/>
              <a:t>2023-2025 period </a:t>
            </a:r>
            <a:r>
              <a:rPr lang="en-US" altLang="en-US" sz="1400" dirty="0"/>
              <a:t>in the multisector market matches devaluation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Professional market movement in the same period covered about two-thirds of devaluation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/>
              <a:t>NGO market movement for professionals approximately matched inflation in 2025 (vs 2024)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For NGO support staff, market movement was slightly higher</a:t>
            </a:r>
          </a:p>
        </p:txBody>
      </p:sp>
    </p:spTree>
    <p:extLst>
      <p:ext uri="{BB962C8B-B14F-4D97-AF65-F5344CB8AC3E}">
        <p14:creationId xmlns:p14="http://schemas.microsoft.com/office/powerpoint/2010/main" val="38283549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D6667AE-5237-12EF-FD66-B1A0D21B76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280130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6667AE-5237-12EF-FD66-B1A0D21B7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200" dirty="0"/>
              <a:t>It is clear labor markets move</a:t>
            </a:r>
            <a:br>
              <a:rPr lang="en-US" sz="3200" dirty="0"/>
            </a:br>
            <a:r>
              <a:rPr lang="en-US" sz="3200" dirty="0"/>
              <a:t>independently from inflation and devaluation</a:t>
            </a:r>
          </a:p>
        </p:txBody>
      </p:sp>
    </p:spTree>
    <p:extLst>
      <p:ext uri="{BB962C8B-B14F-4D97-AF65-F5344CB8AC3E}">
        <p14:creationId xmlns:p14="http://schemas.microsoft.com/office/powerpoint/2010/main" val="25711667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325F5B4-233B-9AD4-BB1D-627B836851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943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25F5B4-233B-9AD4-BB1D-627B83685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1"/>
          <p:cNvSpPr txBox="1"/>
          <p:nvPr/>
        </p:nvSpPr>
        <p:spPr>
          <a:xfrm>
            <a:off x="838200" y="6145043"/>
            <a:ext cx="5743575" cy="347831"/>
          </a:xfrm>
          <a:prstGeom prst="rect">
            <a:avLst/>
          </a:prstGeom>
          <a:ln>
            <a:noFill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u="sng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</a:t>
            </a:r>
            <a:r>
              <a:rPr lang="en-US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Birches Group LLC NGO Local Pay Survey in Ethiopia, October 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E69927-7547-0892-7AFF-F32B9F126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urrently, the NGO market in Ethiopia is bifurcated due to the large number of employers adopting hard currency to set salari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0B901A-2CAD-839F-A459-B58DE0100FB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8200" y="1460388"/>
            <a:ext cx="5257800" cy="44041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2D06742-103F-3520-D0CA-847B8EDB766B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6172199" y="1460388"/>
            <a:ext cx="5288250" cy="4404132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247775"/>
            <a:ext cx="4978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61913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b="1" dirty="0">
                <a:effectLst/>
              </a:rPr>
              <a:t>This graph shows salary range for employers denominating in Birr</a:t>
            </a:r>
            <a:endParaRPr lang="en-US" sz="1100" b="1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AA1E4D27-0A94-0A62-90CC-52101FEB412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172200" y="1152525"/>
            <a:ext cx="4610100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b="1" dirty="0">
                <a:effectLst/>
              </a:rPr>
              <a:t>The salary range for hard currency denominated employers is shown in pink and purple</a:t>
            </a:r>
            <a:endParaRPr lang="en-US" sz="1100" b="1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093913" y="2416175"/>
            <a:ext cx="1800225" cy="144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057275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35 employers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/>
              <a:t>37.2% of the market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491413" y="2416175"/>
            <a:ext cx="1800225" cy="144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057275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/>
              <a:t>59 employers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/>
              <a:t>62.8% of the market</a:t>
            </a:r>
          </a:p>
        </p:txBody>
      </p:sp>
    </p:spTree>
    <p:extLst>
      <p:ext uri="{BB962C8B-B14F-4D97-AF65-F5344CB8AC3E}">
        <p14:creationId xmlns:p14="http://schemas.microsoft.com/office/powerpoint/2010/main" val="12240980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61B10FE-E943-056A-F304-97FF57CD33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166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1B10FE-E943-056A-F304-97FF57CD3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5FE9D2-8457-9C57-99D0-685A84227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re are now two distinct markets for NGOs in Ethiopia</a:t>
            </a:r>
          </a:p>
        </p:txBody>
      </p:sp>
      <p:graphicFrame>
        <p:nvGraphicFramePr>
          <p:cNvPr id="78" name="Table 77">
            <a:extLst>
              <a:ext uri="{FF2B5EF4-FFF2-40B4-BE49-F238E27FC236}">
                <a16:creationId xmlns:a16="http://schemas.microsoft.com/office/drawing/2014/main" id="{A03CD442-2467-0FCB-1CAA-8B38CDF1F9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1118328"/>
              </p:ext>
            </p:extLst>
          </p:nvPr>
        </p:nvGraphicFramePr>
        <p:xfrm>
          <a:off x="838200" y="1254759"/>
          <a:ext cx="10515598" cy="235712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884782">
                  <a:extLst>
                    <a:ext uri="{9D8B030D-6E8A-4147-A177-3AD203B41FA5}">
                      <a16:colId xmlns:a16="http://schemas.microsoft.com/office/drawing/2014/main" val="1387711090"/>
                    </a:ext>
                  </a:extLst>
                </a:gridCol>
                <a:gridCol w="1605136">
                  <a:extLst>
                    <a:ext uri="{9D8B030D-6E8A-4147-A177-3AD203B41FA5}">
                      <a16:colId xmlns:a16="http://schemas.microsoft.com/office/drawing/2014/main" val="3161618912"/>
                    </a:ext>
                  </a:extLst>
                </a:gridCol>
                <a:gridCol w="1605136">
                  <a:extLst>
                    <a:ext uri="{9D8B030D-6E8A-4147-A177-3AD203B41FA5}">
                      <a16:colId xmlns:a16="http://schemas.microsoft.com/office/drawing/2014/main" val="203359668"/>
                    </a:ext>
                  </a:extLst>
                </a:gridCol>
                <a:gridCol w="1605136">
                  <a:extLst>
                    <a:ext uri="{9D8B030D-6E8A-4147-A177-3AD203B41FA5}">
                      <a16:colId xmlns:a16="http://schemas.microsoft.com/office/drawing/2014/main" val="1436359109"/>
                    </a:ext>
                  </a:extLst>
                </a:gridCol>
                <a:gridCol w="1605136">
                  <a:extLst>
                    <a:ext uri="{9D8B030D-6E8A-4147-A177-3AD203B41FA5}">
                      <a16:colId xmlns:a16="http://schemas.microsoft.com/office/drawing/2014/main" val="2108274475"/>
                    </a:ext>
                  </a:extLst>
                </a:gridCol>
                <a:gridCol w="1605136">
                  <a:extLst>
                    <a:ext uri="{9D8B030D-6E8A-4147-A177-3AD203B41FA5}">
                      <a16:colId xmlns:a16="http://schemas.microsoft.com/office/drawing/2014/main" val="1256131015"/>
                    </a:ext>
                  </a:extLst>
                </a:gridCol>
                <a:gridCol w="1605136">
                  <a:extLst>
                    <a:ext uri="{9D8B030D-6E8A-4147-A177-3AD203B41FA5}">
                      <a16:colId xmlns:a16="http://schemas.microsoft.com/office/drawing/2014/main" val="6830624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evel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inimum</a:t>
                      </a:r>
                    </a:p>
                    <a:p>
                      <a:r>
                        <a:rPr lang="en-US" dirty="0"/>
                        <a:t>Local Curr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inimum</a:t>
                      </a:r>
                    </a:p>
                    <a:p>
                      <a:r>
                        <a:rPr lang="en-US" dirty="0"/>
                        <a:t>Hard Curr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ercent</a:t>
                      </a:r>
                    </a:p>
                    <a:p>
                      <a:r>
                        <a:rPr lang="en-US" dirty="0"/>
                        <a:t>Differ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ximum</a:t>
                      </a:r>
                    </a:p>
                    <a:p>
                      <a:r>
                        <a:rPr lang="en-US" dirty="0"/>
                        <a:t>Local Curr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ximum</a:t>
                      </a:r>
                    </a:p>
                    <a:p>
                      <a:r>
                        <a:rPr lang="en-US" dirty="0"/>
                        <a:t>Hard Curr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ercent</a:t>
                      </a:r>
                    </a:p>
                    <a:p>
                      <a:r>
                        <a:rPr lang="en-US" dirty="0"/>
                        <a:t>Differe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81497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/>
                        <a:t>BG-6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569,820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1,363,679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139.3%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45,4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,422,6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6.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16938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/>
                        <a:t>BG-9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1,152,747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2,774,556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140.7%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,790,95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,598,1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6.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6621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/>
                        <a:t>BG-10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1,452,065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3,703,998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155.1%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,148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,684,2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11.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8182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/>
                        <a:t>BG-11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2,161,391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5,206,754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140.9%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,192,37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,390,4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94.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47410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/>
                        <a:t>BG-12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3,241,371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6,800,642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109.8%</a:t>
                      </a:r>
                      <a:endParaRPr lang="en-US" sz="12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,2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,927,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89.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5440074"/>
                  </a:ext>
                </a:extLst>
              </a:tr>
            </a:tbl>
          </a:graphicData>
        </a:graphic>
      </p:graphicFrame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200" y="3932238"/>
            <a:ext cx="10515600" cy="2149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268413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ts val="1200"/>
              </a:spcAft>
              <a:buNone/>
            </a:pPr>
            <a:r>
              <a:rPr lang="en-US" altLang="en-US" sz="1400" dirty="0">
                <a:effectLst/>
              </a:rPr>
              <a:t>Average difference at minimum is 137.2%</a:t>
            </a:r>
          </a:p>
          <a:p>
            <a:pPr marL="0" lvl="0" indent="0">
              <a:spcBef>
                <a:spcPct val="0"/>
              </a:spcBef>
              <a:spcAft>
                <a:spcPts val="1200"/>
              </a:spcAft>
              <a:buNone/>
            </a:pPr>
            <a:r>
              <a:rPr lang="en-US" sz="1400" dirty="0"/>
              <a:t>Average difference at maximum is 181.6%</a:t>
            </a:r>
          </a:p>
          <a:p>
            <a:pPr marL="0" lvl="0" indent="0">
              <a:spcBef>
                <a:spcPct val="0"/>
              </a:spcBef>
              <a:spcAft>
                <a:spcPts val="1200"/>
              </a:spcAft>
              <a:buNone/>
            </a:pPr>
            <a:r>
              <a:rPr lang="en-US" sz="1400" b="1" i="1" dirty="0"/>
              <a:t>It is nearly impossible for local currency-based employers to compete against their hard currency-based competitors</a:t>
            </a:r>
          </a:p>
        </p:txBody>
      </p:sp>
    </p:spTree>
    <p:extLst>
      <p:ext uri="{BB962C8B-B14F-4D97-AF65-F5344CB8AC3E}">
        <p14:creationId xmlns:p14="http://schemas.microsoft.com/office/powerpoint/2010/main" val="18071633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487E3B6-FC94-B4CB-A0F9-63CEEE6E05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750576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87E3B6-FC94-B4CB-A0F9-63CEEE6E0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3200" dirty="0"/>
              <a:t>What happens when the situation is </a:t>
            </a:r>
            <a:br>
              <a:rPr lang="en-US" sz="3200" dirty="0"/>
            </a:br>
            <a:r>
              <a:rPr lang="en-US" sz="3200" dirty="0"/>
              <a:t>unstable due to economic volatility?</a:t>
            </a:r>
            <a:br>
              <a:rPr lang="en-US" sz="3200" dirty="0"/>
            </a:br>
            <a:br>
              <a:rPr lang="en-US" sz="3200" dirty="0"/>
            </a:b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883855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998CD8-6230-D61A-AFDF-21CEC4DE8A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190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998CD8-6230-D61A-AFDF-21CEC4DE8A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8">
            <a:extLst>
              <a:ext uri="{FF2B5EF4-FFF2-40B4-BE49-F238E27FC236}">
                <a16:creationId xmlns:a16="http://schemas.microsoft.com/office/drawing/2014/main" id="{F1CC0CE8-5F65-627E-B248-2DAB752867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usually happens when there is a crisis</a:t>
            </a:r>
          </a:p>
        </p:txBody>
      </p:sp>
      <p:pic>
        <p:nvPicPr>
          <p:cNvPr id="28" name="Pic">
            <a:extLst>
              <a:ext uri="{FF2B5EF4-FFF2-40B4-BE49-F238E27FC236}">
                <a16:creationId xmlns:a16="http://schemas.microsoft.com/office/drawing/2014/main" id="{5B8279AE-43C2-6271-EB8E-307BEAEEB64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6F801314-5768-4EAC-8CED-0F2297F94238}"/>
            </a:extLst>
          </a:blip>
          <a:srcRect l="1901" r="1901"/>
          <a:stretch>
            <a:fillRect/>
          </a:stretch>
        </p:blipFill>
        <p:spPr bwMode="auto">
          <a:xfrm>
            <a:off x="3178175" y="2549525"/>
            <a:ext cx="4813300" cy="334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</p:pic>
      <p:sp>
        <p:nvSpPr>
          <p:cNvPr id="29" name="Speech Bubble: Oval 28">
            <a:extLst>
              <a:ext uri="{FF2B5EF4-FFF2-40B4-BE49-F238E27FC236}">
                <a16:creationId xmlns:a16="http://schemas.microsoft.com/office/drawing/2014/main" id="{D7CB8805-26AF-360E-7C7D-8E1945EDCA13}"/>
              </a:ext>
            </a:extLst>
          </p:cNvPr>
          <p:cNvSpPr/>
          <p:nvPr/>
        </p:nvSpPr>
        <p:spPr>
          <a:xfrm>
            <a:off x="7091083" y="3101788"/>
            <a:ext cx="2554941" cy="963706"/>
          </a:xfrm>
          <a:prstGeom prst="wedgeEllipseCallou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are you doing about the crisis?</a:t>
            </a:r>
          </a:p>
        </p:txBody>
      </p:sp>
      <p:sp>
        <p:nvSpPr>
          <p:cNvPr id="31" name="Thought Bubble: Cloud 30">
            <a:extLst>
              <a:ext uri="{FF2B5EF4-FFF2-40B4-BE49-F238E27FC236}">
                <a16:creationId xmlns:a16="http://schemas.microsoft.com/office/drawing/2014/main" id="{FDD39415-B2BB-8FF8-B220-190F4CC3BF3C}"/>
              </a:ext>
            </a:extLst>
          </p:cNvPr>
          <p:cNvSpPr/>
          <p:nvPr/>
        </p:nvSpPr>
        <p:spPr>
          <a:xfrm>
            <a:off x="5584825" y="1367117"/>
            <a:ext cx="1398494" cy="1819836"/>
          </a:xfrm>
          <a:prstGeom prst="cloudCallou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 wonder what I should do about the crisis?</a:t>
            </a:r>
          </a:p>
        </p:txBody>
      </p:sp>
      <p:sp>
        <p:nvSpPr>
          <p:cNvPr id="33" name="Speech Bubble: Oval 32">
            <a:extLst>
              <a:ext uri="{FF2B5EF4-FFF2-40B4-BE49-F238E27FC236}">
                <a16:creationId xmlns:a16="http://schemas.microsoft.com/office/drawing/2014/main" id="{938CED77-6FFF-A29F-66AD-68D4C3E7BB14}"/>
              </a:ext>
            </a:extLst>
          </p:cNvPr>
          <p:cNvSpPr/>
          <p:nvPr/>
        </p:nvSpPr>
        <p:spPr>
          <a:xfrm flipH="1">
            <a:off x="2868705" y="2737976"/>
            <a:ext cx="1887257" cy="1107141"/>
          </a:xfrm>
          <a:prstGeom prst="wedgeEllipse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What are YOU doing about the devaluation?</a:t>
            </a:r>
          </a:p>
        </p:txBody>
      </p:sp>
    </p:spTree>
    <p:extLst>
      <p:ext uri="{BB962C8B-B14F-4D97-AF65-F5344CB8AC3E}">
        <p14:creationId xmlns:p14="http://schemas.microsoft.com/office/powerpoint/2010/main" val="11470326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AA10E9-0EBA-87CF-F66E-0B36D73116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60493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A10E9-0EBA-87CF-F66E-0B36D73116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3200" i="1" dirty="0"/>
              <a:t>You need a </a:t>
            </a:r>
            <a:r>
              <a:rPr lang="en-US" sz="3200" b="1" i="1" dirty="0"/>
              <a:t>policy-driven</a:t>
            </a:r>
            <a:r>
              <a:rPr lang="en-US" sz="3200" i="1" dirty="0"/>
              <a:t> approach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601363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48C5C20-75C7-3794-6EA8-DB41957637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20240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8C5C20-75C7-3794-6EA8-DB4195763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oday we will be discussing how to manage compensation under volatile economic conditions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287463"/>
            <a:ext cx="10515600" cy="324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32715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We will learn about:</a:t>
            </a:r>
          </a:p>
          <a:p>
            <a:r>
              <a:rPr lang="en-US" sz="1400" b="1" dirty="0"/>
              <a:t>Key concepts </a:t>
            </a:r>
            <a:r>
              <a:rPr lang="en-US" sz="1400" dirty="0"/>
              <a:t>about how pay is established, and how economic volatility impacts it</a:t>
            </a:r>
          </a:p>
          <a:p>
            <a:r>
              <a:rPr lang="en-US" sz="1400" b="1" i="1" dirty="0"/>
              <a:t>Deep Dive</a:t>
            </a:r>
            <a:r>
              <a:rPr lang="en-US" sz="1400" b="1" dirty="0"/>
              <a:t> – Ethiopia</a:t>
            </a:r>
            <a:r>
              <a:rPr lang="en-US" sz="1400" dirty="0"/>
              <a:t>:  A more detailed look at the market in Ethiopia </a:t>
            </a:r>
          </a:p>
          <a:p>
            <a:r>
              <a:rPr lang="en-US" sz="1400" dirty="0"/>
              <a:t>Optimal solutions:  </a:t>
            </a:r>
            <a:r>
              <a:rPr lang="en-US" sz="1400" b="1" i="1" dirty="0"/>
              <a:t>A Policy Driven Approach</a:t>
            </a:r>
          </a:p>
          <a:p>
            <a:r>
              <a:rPr lang="en-US" sz="1400" b="1" dirty="0"/>
              <a:t>Dollarization</a:t>
            </a:r>
            <a:r>
              <a:rPr lang="en-US" sz="1400" dirty="0"/>
              <a:t>:  Don’t Do It!</a:t>
            </a:r>
          </a:p>
          <a:p>
            <a:r>
              <a:rPr lang="en-US" sz="1400" dirty="0"/>
              <a:t>Addressing other types of volatility:  Natural disasters, civil unrest</a:t>
            </a:r>
          </a:p>
          <a:p>
            <a:r>
              <a:rPr lang="en-US" sz="1400" dirty="0"/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3130764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9AD2162-5329-3CE3-B491-3BFD7ECD4D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5746752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AD2162-5329-3CE3-B491-3BFD7ECD4D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“Special Measures” policies provide consistent and fast responses to crisis situation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66775" y="1349375"/>
            <a:ext cx="4813300" cy="2228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Goals of a Special Measures policy are to</a:t>
            </a:r>
            <a:r>
              <a:rPr lang="en-US" altLang="en-US" sz="1400" dirty="0">
                <a:effectLst/>
              </a:rPr>
              <a:t>: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Maintain office operation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Address staff anxiety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Demonstrate responsiveness which is responsible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Maintain linkage to established pay policie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Respond quickly to the situation on the ground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324911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D7AB6-E1C4-43C1-A79B-B9E18F4F53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90A11F-FE5F-6086-A6B2-1F06C82880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237322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90A11F-FE5F-6086-A6B2-1F06C82880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3A865D-2229-F9C6-8354-09CF1AC32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“Special Measures” policies provide consistent and fast responses to crisis situation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791EF9B-1B33-A2AF-EDA0-D0C849C02513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66775" y="1349375"/>
            <a:ext cx="4813300" cy="2228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Goals of a Special Measures policy are to</a:t>
            </a:r>
            <a:r>
              <a:rPr lang="en-US" altLang="en-US" sz="1400" dirty="0">
                <a:effectLst/>
              </a:rPr>
              <a:t>: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Maintain office operation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Address staff anxiety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Demonstrate responsiveness which is responsible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Maintain linkage to established pay policie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Respond quickly to the situation on the ground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57A365D2-00C6-CB82-2477-DD8D13F8EF2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316664" y="1349375"/>
            <a:ext cx="5065713" cy="3525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158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Benefits of a Special Measures policy</a:t>
            </a:r>
            <a:r>
              <a:rPr lang="en-US" altLang="en-US" sz="1400" dirty="0">
                <a:effectLst/>
              </a:rPr>
              <a:t>: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Sets precedent for later and other countrie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Sensitive to:</a:t>
            </a:r>
          </a:p>
          <a:p>
            <a:pPr lvl="1"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Resource constraints</a:t>
            </a:r>
          </a:p>
          <a:p>
            <a:pPr lvl="1"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Linked to the market</a:t>
            </a:r>
          </a:p>
          <a:p>
            <a:pPr lvl="1"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Community image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Allows organization to act quickly without lengthy approval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Has an exit strategy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772780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319512-6404-BE76-135B-76FDD4B8C6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730130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319512-6404-BE76-135B-76FDD4B8C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to Establish Special Measures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139715399"/>
              </p:ext>
            </p:extLst>
          </p:nvPr>
        </p:nvGraphicFramePr>
        <p:xfrm>
          <a:off x="838200" y="546847"/>
          <a:ext cx="10515600" cy="57643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6375834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BB6D505-7555-469F-1A64-75FCFFB3DF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84921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B6D505-7555-469F-1A64-75FCFFB3D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Set a Trigger Poin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296988"/>
            <a:ext cx="10515600" cy="4337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766763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Significant devaluation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b="1" dirty="0">
              <a:effectLst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Example:</a:t>
            </a:r>
            <a:br>
              <a:rPr lang="en-US" altLang="en-US" sz="1400" dirty="0">
                <a:effectLst/>
              </a:rPr>
            </a:br>
            <a:r>
              <a:rPr lang="en-US" altLang="en-US" sz="1400" dirty="0">
                <a:effectLst/>
              </a:rPr>
              <a:t>Minimally 40% within a six-month period accompanied by price spikes in basic commodities such as food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dirty="0"/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dirty="0">
              <a:effectLst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High inflation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b="1" dirty="0">
              <a:effectLst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Example:</a:t>
            </a:r>
            <a:br>
              <a:rPr lang="en-US" altLang="en-US" sz="1400" dirty="0">
                <a:effectLst/>
              </a:rPr>
            </a:br>
            <a:r>
              <a:rPr lang="en-US" altLang="en-US" sz="1400" dirty="0">
                <a:effectLst/>
              </a:rPr>
              <a:t>50% devaluation at one time, or inflation above 20% per month for three consecutive months</a:t>
            </a:r>
            <a:br>
              <a:rPr lang="en-US" altLang="en-US" sz="1400" dirty="0">
                <a:effectLst/>
              </a:rPr>
            </a:br>
            <a:endParaRPr lang="en-US" altLang="en-US" sz="1400" dirty="0">
              <a:effectLst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b="1" dirty="0"/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Consider what data source you will use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b="1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Devaluation is a leading economic indicator and data is freely available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/>
              <a:t>Inflation is a lagging indicator, and it is difficult to get updated data that is accurate</a:t>
            </a:r>
            <a:endParaRPr lang="en-US" altLang="en-US" sz="1400" dirty="0">
              <a:effectLst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588385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CEBBB7B-5489-6D51-356F-33F86D1031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53501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BBB7B-5489-6D51-356F-33F86D103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Define Your Respons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270000"/>
            <a:ext cx="10515600" cy="144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56038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Temporary allowance of 25% of devaluation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Immediate payment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Always  consider market position when setting temporary allowance</a:t>
            </a:r>
          </a:p>
        </p:txBody>
      </p:sp>
    </p:spTree>
    <p:extLst>
      <p:ext uri="{BB962C8B-B14F-4D97-AF65-F5344CB8AC3E}">
        <p14:creationId xmlns:p14="http://schemas.microsoft.com/office/powerpoint/2010/main" val="8982440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56C35F8-D597-EB6E-F29A-A7EDE10EAE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912963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6C35F8-D597-EB6E-F29A-A7EDE10EA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Monitor the Marke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200" y="1244600"/>
            <a:ext cx="10510838" cy="2671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132715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Check market movement regularly</a:t>
            </a:r>
            <a:br>
              <a:rPr lang="en-US" altLang="en-US" sz="1400" dirty="0">
                <a:effectLst/>
              </a:rPr>
            </a:b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As more employers respond to the crisis, market will start to move up</a:t>
            </a:r>
            <a:br>
              <a:rPr lang="en-US" altLang="en-US" sz="1400" dirty="0">
                <a:effectLst/>
              </a:rPr>
            </a:b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Periodically, say every three months, decide if you should convert some or all of Special Measures allowance to regular salary</a:t>
            </a:r>
            <a:br>
              <a:rPr lang="en-US" altLang="en-US" sz="1400" dirty="0">
                <a:effectLst/>
              </a:rPr>
            </a:b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Always consider your competitive market posi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24701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0544EB8-EDFC-92BA-1808-70AABA1A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86089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544EB8-EDFC-92BA-1808-70AABA1A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Winding Down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323975"/>
            <a:ext cx="10515600" cy="144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481013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Market has caught up or overtaken the amount of Special Measures Allowance</a:t>
            </a:r>
            <a:br>
              <a:rPr lang="en-US" altLang="en-US" sz="1400" dirty="0">
                <a:effectLst/>
              </a:rPr>
            </a:b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Convert Special Measures Allowance to regular salary and end the allowance</a:t>
            </a:r>
            <a:br>
              <a:rPr lang="en-US" altLang="en-US" sz="1400" dirty="0">
                <a:effectLst/>
              </a:rPr>
            </a:b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Always consider your competitive market posi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671354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0679F8B-FD2A-84F0-5281-D8383A3323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75131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679F8B-FD2A-84F0-5281-D8383A33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Special Measures Allowance Lifecycle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93727886"/>
              </p:ext>
            </p:extLst>
          </p:nvPr>
        </p:nvGraphicFramePr>
        <p:xfrm>
          <a:off x="1873624" y="1485152"/>
          <a:ext cx="7888941" cy="46018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4714135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7F2CE48-A3B0-E41A-86BE-9C71D2C246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5317909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F2CE48-A3B0-E41A-86BE-9C71D2C246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sz="4000" i="1" dirty="0"/>
              <a:t>Remember:</a:t>
            </a:r>
            <a:br>
              <a:rPr lang="en-US" dirty="0"/>
            </a:br>
            <a:r>
              <a:rPr lang="en-US" dirty="0"/>
              <a:t>The Hard Realities about Special Measur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457325"/>
            <a:ext cx="10515600" cy="144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67310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What is granted cannot be taken away or reduced; at best it can be frozen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It is impossible to tailor measures for individual staff to address different personal situations or needs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9139662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F3C74FF-9CBD-906F-C70F-83733871B7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285763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3C74FF-9CBD-906F-C70F-83733871B7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mmunication and Clarity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323975"/>
            <a:ext cx="10515600" cy="144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Employees want to know </a:t>
            </a:r>
            <a:r>
              <a:rPr lang="en-US" sz="1400" b="1" i="1" u="sng" dirty="0"/>
              <a:t>what they can count on from their employer</a:t>
            </a:r>
          </a:p>
          <a:p>
            <a:pPr marL="0" indent="0">
              <a:buNone/>
            </a:pPr>
            <a:endParaRPr lang="en-US" sz="1400" dirty="0"/>
          </a:p>
          <a:p>
            <a:r>
              <a:rPr lang="en-US" sz="1400" dirty="0"/>
              <a:t>Employees understand that their employer cannot necessarily “keep them whole,” </a:t>
            </a:r>
            <a:r>
              <a:rPr lang="en-US" sz="1400" i="1" dirty="0"/>
              <a:t>despite what they may ask for</a:t>
            </a:r>
          </a:p>
          <a:p>
            <a:pPr marL="0" indent="0">
              <a:buNone/>
            </a:pPr>
            <a:endParaRPr lang="en-US" sz="1400" i="1" dirty="0"/>
          </a:p>
          <a:p>
            <a:r>
              <a:rPr lang="en-US" sz="1400" dirty="0"/>
              <a:t>Managers and employees alike appreciate the clarity a clear policy provides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0735837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CC799E4-5BB5-F65A-357B-A757EF63B1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6295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C799E4-5BB5-F65A-357B-A757EF63B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285A6BA-FCBA-8F00-913C-9BC5FE651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should employers set pay?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519238" y="1349375"/>
            <a:ext cx="4518025" cy="238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According to cost of living in the country?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According to headquarters pay, adjusted by foreign exchange?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Based on what’s advertised for jobs with similar titles in country?  Or in neighboring countries?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Using data obtained by calling friends who used to work in that country 3 years ago?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E0D4B8F8-4529-A039-6215-90B61FC1481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816725" y="1349375"/>
            <a:ext cx="4537075" cy="238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8255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Based on relevant market data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In accordance with a documented compensation philosophy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Within the limits of the employer’s budget</a:t>
            </a:r>
            <a:br>
              <a:rPr lang="en-US" sz="1400" dirty="0"/>
            </a:b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Using a </a:t>
            </a:r>
            <a:r>
              <a:rPr lang="en-US" sz="1400" i="1" dirty="0"/>
              <a:t>cost of labor</a:t>
            </a:r>
            <a:r>
              <a:rPr lang="en-US" sz="1400" dirty="0"/>
              <a:t> approach</a:t>
            </a:r>
            <a:endParaRPr lang="en-US" sz="1400" i="1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</p:txBody>
      </p:sp>
      <p:pic>
        <p:nvPicPr>
          <p:cNvPr id="208" name="Graphic 207" descr="Question mark with solid fill">
            <a:extLst>
              <a:ext uri="{FF2B5EF4-FFF2-40B4-BE49-F238E27FC236}">
                <a16:creationId xmlns:a16="http://schemas.microsoft.com/office/drawing/2014/main" id="{A3ED2416-2484-63CB-A7AF-E0359C048D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19238" y="3933825"/>
            <a:ext cx="914400" cy="914400"/>
          </a:xfrm>
          <a:prstGeom prst="rect">
            <a:avLst/>
          </a:prstGeom>
        </p:spPr>
      </p:pic>
      <p:pic>
        <p:nvPicPr>
          <p:cNvPr id="209" name="Graphic 208" descr="Question mark with solid fill">
            <a:extLst>
              <a:ext uri="{FF2B5EF4-FFF2-40B4-BE49-F238E27FC236}">
                <a16:creationId xmlns:a16="http://schemas.microsoft.com/office/drawing/2014/main" id="{60A68108-402B-313B-2E58-F074A342C0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94212" y="5073836"/>
            <a:ext cx="914400" cy="914400"/>
          </a:xfrm>
          <a:prstGeom prst="rect">
            <a:avLst/>
          </a:prstGeom>
        </p:spPr>
      </p:pic>
      <p:pic>
        <p:nvPicPr>
          <p:cNvPr id="210" name="Graphic 209" descr="Question mark with solid fill">
            <a:extLst>
              <a:ext uri="{FF2B5EF4-FFF2-40B4-BE49-F238E27FC236}">
                <a16:creationId xmlns:a16="http://schemas.microsoft.com/office/drawing/2014/main" id="{7E94EDAD-0AC1-DDE5-F67B-537B0C943A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48201" y="3974166"/>
            <a:ext cx="914400" cy="914400"/>
          </a:xfrm>
          <a:prstGeom prst="rect">
            <a:avLst/>
          </a:prstGeom>
        </p:spPr>
      </p:pic>
      <p:pic>
        <p:nvPicPr>
          <p:cNvPr id="211" name="Graphic 210" descr="Question mark with solid fill">
            <a:extLst>
              <a:ext uri="{FF2B5EF4-FFF2-40B4-BE49-F238E27FC236}">
                <a16:creationId xmlns:a16="http://schemas.microsoft.com/office/drawing/2014/main" id="{220A50ED-9B79-7E7F-034C-3E823A2993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00800" y="5230905"/>
            <a:ext cx="914400" cy="914400"/>
          </a:xfrm>
          <a:prstGeom prst="rect">
            <a:avLst/>
          </a:prstGeom>
        </p:spPr>
      </p:pic>
      <p:pic>
        <p:nvPicPr>
          <p:cNvPr id="212" name="Graphic 211" descr="Question mark with solid fill">
            <a:extLst>
              <a:ext uri="{FF2B5EF4-FFF2-40B4-BE49-F238E27FC236}">
                <a16:creationId xmlns:a16="http://schemas.microsoft.com/office/drawing/2014/main" id="{7F46DC37-4B95-3996-D930-F0140B2879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73790" y="3933825"/>
            <a:ext cx="914400" cy="914400"/>
          </a:xfrm>
          <a:prstGeom prst="rect">
            <a:avLst/>
          </a:prstGeom>
        </p:spPr>
      </p:pic>
      <p:pic>
        <p:nvPicPr>
          <p:cNvPr id="213" name="Graphic 212" descr="Question mark with solid fill">
            <a:extLst>
              <a:ext uri="{FF2B5EF4-FFF2-40B4-BE49-F238E27FC236}">
                <a16:creationId xmlns:a16="http://schemas.microsoft.com/office/drawing/2014/main" id="{740F034C-55A5-936B-C23A-31FF3DC070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07388" y="505142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0853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BE6E197-1DE1-0A4E-73C7-E3AC53D50B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101766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E6E197-1DE1-0A4E-73C7-E3AC53D50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gular Communication is Key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66775" y="1225551"/>
            <a:ext cx="10487025" cy="143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Advise staff of measures taken at each stage to demonstrate responsiveness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Remind managers and staff about the policy provisions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Be empathetic to their financial pain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</a:rPr>
              <a:t>Emphasize a continuing link to the labor market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288104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51A278E-9F11-3323-6A06-1D3EA86961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9784817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1A278E-9F11-3323-6A06-1D3EA8696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70631" y="728150"/>
            <a:ext cx="10515600" cy="3752193"/>
          </a:xfrm>
        </p:spPr>
        <p:txBody>
          <a:bodyPr vert="horz"/>
          <a:lstStyle/>
          <a:p>
            <a:pPr algn="ctr"/>
            <a:r>
              <a:rPr lang="en-US" dirty="0"/>
              <a:t>Clients Often Ask:</a:t>
            </a:r>
            <a:br>
              <a:rPr lang="en-US" dirty="0"/>
            </a:br>
            <a:r>
              <a:rPr lang="en-US" dirty="0"/>
              <a:t>Should We Pay in Hard Currency*?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3028031" y="4253753"/>
            <a:ext cx="6400800" cy="709613"/>
          </a:xfrm>
        </p:spPr>
        <p:txBody>
          <a:bodyPr>
            <a:normAutofit/>
          </a:bodyPr>
          <a:lstStyle/>
          <a:p>
            <a:pPr marL="115888" indent="-115888" algn="l">
              <a:buNone/>
            </a:pPr>
            <a:r>
              <a:rPr lang="en-US" sz="1600" dirty="0"/>
              <a:t>*Hard currency is US dollars, UK Pounds, Euros, and other global reference currencies</a:t>
            </a:r>
          </a:p>
        </p:txBody>
      </p:sp>
    </p:spTree>
    <p:extLst>
      <p:ext uri="{BB962C8B-B14F-4D97-AF65-F5344CB8AC3E}">
        <p14:creationId xmlns:p14="http://schemas.microsoft.com/office/powerpoint/2010/main" val="29157617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9B4D219D-B6B8-9532-AECB-9306D1CDF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123134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4D219D-B6B8-9532-AECB-9306D1CDF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90600" y="2599582"/>
            <a:ext cx="10515600" cy="612582"/>
          </a:xfrm>
        </p:spPr>
        <p:txBody>
          <a:bodyPr vert="horz">
            <a:noAutofit/>
          </a:bodyPr>
          <a:lstStyle/>
          <a:p>
            <a:pPr algn="ctr"/>
            <a:r>
              <a:rPr lang="en-US" sz="19900" dirty="0"/>
              <a:t>No!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413070" y="880702"/>
            <a:ext cx="2971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rgbClr val="00B0F0"/>
                </a:solidFill>
              </a:rPr>
              <a:t>¡No!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10200" y="4445320"/>
            <a:ext cx="2971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rgbClr val="00B050"/>
                </a:solidFill>
              </a:rPr>
              <a:t>Nein!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27952" y="2676160"/>
            <a:ext cx="2971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 err="1">
                <a:solidFill>
                  <a:srgbClr val="00B0F0"/>
                </a:solidFill>
              </a:rPr>
              <a:t>Não</a:t>
            </a:r>
            <a:r>
              <a:rPr lang="en-US" sz="4800" dirty="0">
                <a:solidFill>
                  <a:srgbClr val="00B0F0"/>
                </a:solidFill>
              </a:rPr>
              <a:t>!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514600" y="3657824"/>
            <a:ext cx="2971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z-Cyrl-AZ" sz="4800" dirty="0">
                <a:solidFill>
                  <a:srgbClr val="00B050"/>
                </a:solidFill>
              </a:rPr>
              <a:t>Нет</a:t>
            </a:r>
            <a:r>
              <a:rPr lang="en-US" sz="4800" dirty="0">
                <a:solidFill>
                  <a:srgbClr val="00B050"/>
                </a:solidFill>
              </a:rPr>
              <a:t>!</a:t>
            </a:r>
          </a:p>
        </p:txBody>
      </p:sp>
      <p:sp>
        <p:nvSpPr>
          <p:cNvPr id="3" name="Rectangle 2"/>
          <p:cNvSpPr/>
          <p:nvPr/>
        </p:nvSpPr>
        <p:spPr>
          <a:xfrm>
            <a:off x="8060417" y="1163427"/>
            <a:ext cx="227838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800" dirty="0" err="1">
                <a:solidFill>
                  <a:srgbClr val="00B050"/>
                </a:solidFill>
              </a:rPr>
              <a:t>Hakuna</a:t>
            </a:r>
            <a:r>
              <a:rPr lang="en-US" sz="4800" dirty="0">
                <a:solidFill>
                  <a:srgbClr val="00B050"/>
                </a:solidFill>
              </a:rPr>
              <a:t>!</a:t>
            </a:r>
          </a:p>
        </p:txBody>
      </p:sp>
      <p:sp>
        <p:nvSpPr>
          <p:cNvPr id="9" name="Rectangle 8"/>
          <p:cNvSpPr/>
          <p:nvPr/>
        </p:nvSpPr>
        <p:spPr>
          <a:xfrm>
            <a:off x="8873693" y="2237286"/>
            <a:ext cx="141577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4800" dirty="0">
                <a:solidFill>
                  <a:srgbClr val="00B0F0"/>
                </a:solidFill>
              </a:rPr>
              <a:t>不！</a:t>
            </a:r>
            <a:endParaRPr lang="en-US" sz="4800" dirty="0">
              <a:solidFill>
                <a:srgbClr val="00B0F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633521" y="699397"/>
            <a:ext cx="127951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800" dirty="0" err="1">
                <a:solidFill>
                  <a:srgbClr val="00B0F0"/>
                </a:solidFill>
              </a:rPr>
              <a:t>Nej</a:t>
            </a:r>
            <a:r>
              <a:rPr lang="en-US" sz="4800" dirty="0">
                <a:solidFill>
                  <a:srgbClr val="00B0F0"/>
                </a:solidFill>
              </a:rPr>
              <a:t>!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148450" y="699397"/>
            <a:ext cx="98777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e-IL" sz="4800" dirty="0">
                <a:solidFill>
                  <a:srgbClr val="00B050"/>
                </a:solidFill>
              </a:rPr>
              <a:t>לא!</a:t>
            </a:r>
            <a:endParaRPr lang="en-US" sz="4800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229101" y="4419600"/>
            <a:ext cx="81304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800" dirty="0">
                <a:solidFill>
                  <a:srgbClr val="00B0F0"/>
                </a:solidFill>
              </a:rPr>
              <a:t>ไม่</a:t>
            </a:r>
            <a:r>
              <a:rPr lang="en-US" sz="4800" dirty="0">
                <a:solidFill>
                  <a:srgbClr val="00B0F0"/>
                </a:solidFill>
              </a:rPr>
              <a:t>!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557347" y="3242325"/>
            <a:ext cx="148630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800" dirty="0">
                <a:solidFill>
                  <a:srgbClr val="00B050"/>
                </a:solidFill>
              </a:rPr>
              <a:t>Non!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391400" y="4202458"/>
            <a:ext cx="139493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800" dirty="0">
                <a:solidFill>
                  <a:srgbClr val="00B0F0"/>
                </a:solidFill>
              </a:rPr>
              <a:t>Nee!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625991" y="1711699"/>
            <a:ext cx="69121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ar-AE" sz="4800" dirty="0">
                <a:solidFill>
                  <a:srgbClr val="00B050"/>
                </a:solidFill>
              </a:rPr>
              <a:t>لا!</a:t>
            </a:r>
            <a:endParaRPr lang="en-US" sz="4800" dirty="0">
              <a:solidFill>
                <a:srgbClr val="00B05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117809" y="2180400"/>
            <a:ext cx="7955280" cy="1373370"/>
          </a:xfrm>
          <a:prstGeom prst="rect">
            <a:avLst/>
          </a:prstGeom>
          <a:solidFill>
            <a:srgbClr val="7030A0">
              <a:alpha val="25098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kia" panose="02000503020000020004" pitchFamily="2" charset="0"/>
              </a:rPr>
              <a:t>In any language, the answer is no!</a:t>
            </a:r>
          </a:p>
        </p:txBody>
      </p:sp>
    </p:spTree>
    <p:extLst>
      <p:ext uri="{BB962C8B-B14F-4D97-AF65-F5344CB8AC3E}">
        <p14:creationId xmlns:p14="http://schemas.microsoft.com/office/powerpoint/2010/main" val="118669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90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10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" presetClass="entr" presetSubtype="1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7" grpId="0"/>
      <p:bldP spid="8" grpId="0"/>
      <p:bldP spid="3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EA41FA6-7B67-9A10-B3FA-5DA0CFBABD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340737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A41FA6-7B67-9A10-B3FA-5DA0CFBABD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Local Staff Should be Paid in Local Currency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250950"/>
            <a:ext cx="10515600" cy="144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Unless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b="1" dirty="0">
              <a:effectLst/>
            </a:endParaRP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It is supported by comparator practice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There is no functioning local currency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dirty="0">
              <a:effectLst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Caution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b="1" dirty="0">
              <a:effectLst/>
            </a:endParaRP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Paying in foreign currency in some countries is illegal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Staff may be at risk if they participate in black market transactions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146186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1A767F-2765-520A-4533-2CA2A72B0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6064547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1A767F-2765-520A-4533-2CA2A72B0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Switching to Hard Currency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385888"/>
            <a:ext cx="4821238" cy="922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158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Pro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b="1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Easy to start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Simple to explai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E18E995-027D-9ECB-8048-262E71B6456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134100" y="1385888"/>
            <a:ext cx="5219700" cy="922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158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Con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b="1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Difficult to set exchange rate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Local currency could </a:t>
            </a:r>
            <a:r>
              <a:rPr lang="en-US" sz="1400" b="1" i="1" dirty="0"/>
              <a:t>revalue</a:t>
            </a: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Creates a mindset which separates local staff from the local economy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Puts your budget controls in the hands of the exchange rate god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Difficult to end (switch back to local currency)</a:t>
            </a:r>
          </a:p>
        </p:txBody>
      </p:sp>
    </p:spTree>
    <p:extLst>
      <p:ext uri="{BB962C8B-B14F-4D97-AF65-F5344CB8AC3E}">
        <p14:creationId xmlns:p14="http://schemas.microsoft.com/office/powerpoint/2010/main" val="28788006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22D07D-FCE6-FCB7-33C7-53EA1AB633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47528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4" imgH="344" progId="TCLayout.ActiveDocument.1">
                  <p:embed/>
                </p:oleObj>
              </mc:Choice>
              <mc:Fallback>
                <p:oleObj name="think-cell Slide" r:id="rId26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22D07D-FCE6-FCB7-33C7-53EA1AB63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You can potentially lose control of your budget if you adopt hard currency salaries</a:t>
            </a:r>
          </a:p>
        </p:txBody>
      </p:sp>
      <p:graphicFrame>
        <p:nvGraphicFramePr>
          <p:cNvPr id="265" name="Chart 264">
            <a:extLst>
              <a:ext uri="{FF2B5EF4-FFF2-40B4-BE49-F238E27FC236}">
                <a16:creationId xmlns:a16="http://schemas.microsoft.com/office/drawing/2014/main" id="{43C9F0B0-D851-F125-1F5A-7DA2D339ECF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212032"/>
              </p:ext>
            </p:extLst>
          </p:nvPr>
        </p:nvGraphicFramePr>
        <p:xfrm>
          <a:off x="755650" y="2632075"/>
          <a:ext cx="8077200" cy="3311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77CF8352-B098-3B42-0DB3-033A797ED67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85850" y="2601913"/>
            <a:ext cx="0" cy="14700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7FDB06DC-B113-94EF-2E35-D6BC8D49035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85850" y="2601913"/>
            <a:ext cx="74168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DEBA6868-BABF-BEA0-1CF8-F32F1120F03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502650" y="260191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38213" y="5791200"/>
            <a:ext cx="2952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9088D0-A48F-4700-B0C1-CCAB6FACD587}" type="datetime'''''''J''''''''''ul''''''''''-''''''''2''''''''''4'''''''''''">
              <a:rPr lang="en-US" altLang="en-US" sz="800" b="1" smtClean="0"/>
              <a:pPr/>
              <a:t>Jul-24</a:t>
            </a:fld>
            <a:endParaRPr lang="en-US" sz="800" b="1" dirty="0"/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01763" y="5791200"/>
            <a:ext cx="3571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02DF4D7-E932-4D76-8A12-34FD7C56B315}" type="datetime'A''''''''''''''''''''''''''''u''''''''''''''''g''-''''24'">
              <a:rPr lang="en-US" altLang="en-US" sz="800" b="1" smtClean="0"/>
              <a:pPr/>
              <a:t>Aug-24</a:t>
            </a:fld>
            <a:endParaRPr lang="en-US" sz="800" b="1" dirty="0"/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03413" y="5791200"/>
            <a:ext cx="3444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306FE7-E3BB-4820-A56D-9EF4F6DA3A44}" type="datetime'Se''p''''-''''''''''''''''2''''''''''''''''4'''''">
              <a:rPr lang="en-US" altLang="en-US" sz="800" b="1" smtClean="0"/>
              <a:pPr/>
              <a:t>Sep-24</a:t>
            </a:fld>
            <a:endParaRPr lang="en-US" sz="800" b="1" dirty="0"/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E6169AA0-263E-1B17-8C30-220B79FC4C0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98713" y="5791200"/>
            <a:ext cx="3413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B5FD06-8671-44EA-887D-30977E060897}" type="datetime'''''''''O''''''''ct''-''''''''''''''2''''''''''4'''''''''''''">
              <a:rPr lang="en-US" altLang="en-US" sz="800" b="1" smtClean="0"/>
              <a:pPr/>
              <a:t>Oct-24</a:t>
            </a:fld>
            <a:endParaRPr lang="en-US" sz="800" b="1" dirty="0"/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20323AF0-A402-7798-7688-6DD24636863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881313" y="5791200"/>
            <a:ext cx="3667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E59415-11C8-4264-A520-39CE9BD3D733}" type="datetime'''''''N''''ov-''''''''''2''''''''''4'''''''''''''''''''''">
              <a:rPr lang="en-US" altLang="en-US" sz="800" b="1" smtClean="0"/>
              <a:pPr/>
              <a:t>Nov-24</a:t>
            </a:fld>
            <a:endParaRPr lang="en-US" sz="800" b="1" dirty="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AEE0796B-04E3-2588-4FB0-952C537965F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382963" y="5791200"/>
            <a:ext cx="3508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2AE416-8655-47E3-AF9C-550EE3875455}" type="datetime'''''''D''''''e''''''''c-''''''''''''''2''''4'''''''''''''''">
              <a:rPr lang="en-US" altLang="en-US" sz="800" b="1" smtClean="0"/>
              <a:pPr/>
              <a:t>Dec-24</a:t>
            </a:fld>
            <a:endParaRPr lang="en-US" sz="800" b="1" dirty="0"/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1C3F9B6D-B0D5-E48B-1C01-DB1C19EF715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890963" y="5791200"/>
            <a:ext cx="3254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59C7942-D008-44EE-BA3A-4E3CC9F5F9DE}" type="datetime'''J''a''n''''''''''''''''''''''-''''''''''''''2''''''''5'">
              <a:rPr lang="en-US" altLang="en-US" sz="800" b="1" smtClean="0"/>
              <a:pPr/>
              <a:t>Jan-25</a:t>
            </a:fld>
            <a:endParaRPr lang="en-US" sz="800" b="1" dirty="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FD9F572B-5A73-576D-AAA6-A5901F667E6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375150" y="5791200"/>
            <a:ext cx="3444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2D6CD1-1085-46F3-9DDB-B7F74576AF09}" type="datetime'''''''''F''e''''''b''-2''''''''''''''''''5'''">
              <a:rPr lang="en-US" altLang="en-US" sz="800" b="1" smtClean="0"/>
              <a:pPr/>
              <a:t>Feb-25</a:t>
            </a:fld>
            <a:endParaRPr lang="en-US" sz="800" b="1" dirty="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9C0C2D67-5F4B-0316-AB89-7E0CB9CDB62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59338" y="5791200"/>
            <a:ext cx="3667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2472CC-344B-40C5-8471-6EB8A8E8C5C6}" type="datetime'''''M''''''''''''a''''''''''r''-''''''''''25'''''''''''''''">
              <a:rPr lang="en-US" altLang="en-US" sz="800" b="1" smtClean="0"/>
              <a:pPr/>
              <a:t>Mar-25</a:t>
            </a:fld>
            <a:endParaRPr lang="en-US" sz="800" b="1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07D4EF40-89B6-4F23-B32B-D60EF919C97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364163" y="5791200"/>
            <a:ext cx="3444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8609E2-9C5D-47C5-8A5E-6B72C6E3856F}" type="datetime'A''''''''''''''pr''''''''''-2''''''''5'''''''''">
              <a:rPr lang="en-US" altLang="en-US" sz="800" b="1" smtClean="0"/>
              <a:pPr/>
              <a:t>Apr-25</a:t>
            </a:fld>
            <a:endParaRPr lang="en-US" sz="800" b="1" dirty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B05DE179-CAAD-CC31-C96F-004458871A6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842000" y="5791200"/>
            <a:ext cx="3778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2C27E6-E2B9-411B-A079-6BB77763F2B0}" type="datetime'''''''''''''''''M''''''''a''y''''''''-''2''''''''5'''''''''''">
              <a:rPr lang="en-US" altLang="en-US" sz="800" b="1" smtClean="0"/>
              <a:pPr/>
              <a:t>May-25</a:t>
            </a:fld>
            <a:endParaRPr lang="en-US" sz="800" b="1" dirty="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484D7806-5992-906D-2C53-29BE7D5F0A3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359525" y="5791200"/>
            <a:ext cx="3302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7C04A8-00E9-4519-B959-C1462BC48F21}" type="datetime'J''''''''''''''''''un''''''-25'''''''''''''''''">
              <a:rPr lang="en-US" altLang="en-US" sz="800" b="1" smtClean="0"/>
              <a:pPr/>
              <a:t>Jun-25</a:t>
            </a:fld>
            <a:endParaRPr lang="en-US" sz="800" b="1" dirty="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6A20B22F-0DE7-9020-7BB7-D063D6AF679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72288" y="5791200"/>
            <a:ext cx="2952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724C95-DE4E-4F8F-85C1-C13C15AEE2D8}" type="datetime'''''J''''''''''''''ul''''''''''-''''''''''''''''''2''''5'">
              <a:rPr lang="en-US" altLang="en-US" sz="800" b="1" smtClean="0"/>
              <a:pPr/>
              <a:t>Jul-25</a:t>
            </a:fld>
            <a:endParaRPr lang="en-US" sz="800" b="1" dirty="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73C259A6-D93C-9AA7-89F2-4BDBB0200A2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335838" y="5791200"/>
            <a:ext cx="3571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6C3456-9E59-4445-8FCF-5191FDA2C44F}" type="datetime'Au''''''''''''''g''''''''''''''-''''''''''''''2''5'''''''''''">
              <a:rPr lang="en-US" altLang="en-US" sz="800" b="1" smtClean="0"/>
              <a:pPr/>
              <a:t>Aug-25</a:t>
            </a:fld>
            <a:endParaRPr lang="en-US" sz="800" b="1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8E928538-C2F2-ED26-3F33-016308F15C9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837488" y="5791200"/>
            <a:ext cx="3444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76506A-F4C9-4D00-9995-E58D698F8B60}" type="datetime'''S''e''''''''''''''''''p-''''2''''''5'''''''''''''''">
              <a:rPr lang="en-US" altLang="en-US" sz="800" b="1" smtClean="0"/>
              <a:pPr/>
              <a:t>Sep-25</a:t>
            </a:fld>
            <a:endParaRPr lang="en-US" sz="800" b="1" dirty="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3B7A62ED-E710-CA1D-BDC2-6D30EAF0A17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332788" y="5791200"/>
            <a:ext cx="3413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ACE6E7-BB33-4234-9DA5-F09A45E2D99A}" type="datetime'''O''''''''c''''''t''''''''''''''''''''-''2''''''''5'''''''''">
              <a:rPr lang="en-US" altLang="en-US" sz="800" b="1" smtClean="0"/>
              <a:pPr/>
              <a:t>Oct-25</a:t>
            </a:fld>
            <a:endParaRPr lang="en-US" sz="800" b="1" dirty="0"/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357688" y="2465388"/>
            <a:ext cx="874713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D685D6-F0A8-4819-9671-42768206E1E4}" type="datetime'''''''+87''''''''.''''''''''''1''%'''''''''''''''''''">
              <a:rPr lang="en-US" altLang="en-US" sz="1400" b="1" smtClean="0">
                <a:effectLst/>
              </a:rPr>
              <a:pPr/>
              <a:t>+87.1%</a:t>
            </a:fld>
            <a:endParaRPr lang="en-US" sz="1400" b="1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38200" y="1677988"/>
            <a:ext cx="715327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Impact of changing a salary of ETB 5,000,000 to USD 64,500 on July 1, 2024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i="1" dirty="0"/>
              <a:t>Payment converted using monthly exchange rate</a:t>
            </a: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907462" y="2062163"/>
            <a:ext cx="2446338" cy="406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Due to the devaluation, the salary increased </a:t>
            </a:r>
            <a:r>
              <a:rPr lang="en-US" sz="1400" b="1" dirty="0"/>
              <a:t>87.1%</a:t>
            </a:r>
            <a:r>
              <a:rPr lang="en-US" sz="1400" dirty="0"/>
              <a:t> in local currency equivalent over a period of 15 month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This excludes any annual merit increase for which the employee would likely be eligible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During the same period, the average increase (due to market movement) for professionals was between 20% and 25%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Because of dollarization, your salary increase is more than 3X compared to the market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03762905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82BE82-438B-324F-D9E7-B793D7887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22AE4EB-ECCA-4E5B-630B-3BF4A5D424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28859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2AE4EB-ECCA-4E5B-630B-3BF4A5D424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895D9D4-A8AD-354B-3B8B-150F0A8C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Special Measures for other types of cris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927E384-6EA3-4477-26F1-946C3C8BEB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250950"/>
            <a:ext cx="10515600" cy="38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223678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1200"/>
              </a:spcAft>
              <a:buNone/>
            </a:pPr>
            <a:r>
              <a:rPr lang="en-US" sz="1400" dirty="0"/>
              <a:t>Organizations can use a special measures approach to address other unexpected events, such as: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Natural disaster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Civil unrest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Other emergencies or disruptions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053780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FB0A3FC-6F61-5FCA-CF58-393CCA7811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648033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B0A3FC-6F61-5FCA-CF58-393CCA781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The Importance of Clarity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358900"/>
            <a:ext cx="10515600" cy="3457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1350963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As an employer, it is the labor market that determines the level of pay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Special Measures are temporary and supplemental, not a replacement for labor market comparison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Goal is stabilization, not insulation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Special Measures demonstrates your willingness as an employer to respond within the constraints of resources and sensitivity to the broader context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Clear communications are essential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4047124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73C594D-F329-E32C-C29B-27D5185CB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491607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3C594D-F329-E32C-C29B-27D5185CB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 summary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200" y="1566864"/>
            <a:ext cx="4935538" cy="720725"/>
          </a:xfrm>
          <a:prstGeom prst="homePlate">
            <a:avLst>
              <a:gd name="adj" fmla="val 18282"/>
            </a:avLst>
          </a:prstGeom>
          <a:solidFill>
            <a:srgbClr val="2C5E28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square" lIns="71438" tIns="168275" rIns="0" bIns="168275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solidFill>
                  <a:schemeClr val="bg1"/>
                </a:solidFill>
              </a:rPr>
              <a:t>Operating in volatile economies presents new challenges</a:t>
            </a:r>
            <a:endParaRPr lang="en-US" sz="1400" dirty="0">
              <a:solidFill>
                <a:schemeClr val="bg1"/>
              </a:solidFill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8F4505B-782F-B0A6-1813-D2851CDD3D5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41975" y="1566863"/>
            <a:ext cx="5724525" cy="720725"/>
          </a:xfrm>
          <a:prstGeom prst="chevron">
            <a:avLst>
              <a:gd name="adj" fmla="val 18282"/>
            </a:avLst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square" lIns="69850" tIns="168275" rIns="25400" bIns="168275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i="1" dirty="0"/>
              <a:t>NGOs should pay careful attention to labor market movement rather than inflation/devaluation “noise”</a:t>
            </a:r>
            <a:endParaRPr lang="en-US" sz="1400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1439CA8-7C37-6DCD-E943-FBA9AE9696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8200" y="2854325"/>
            <a:ext cx="4935538" cy="720725"/>
          </a:xfrm>
          <a:prstGeom prst="homePlate">
            <a:avLst>
              <a:gd name="adj" fmla="val 18282"/>
            </a:avLst>
          </a:prstGeom>
          <a:solidFill>
            <a:srgbClr val="2C5E28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71438" tIns="265113" rIns="0" bIns="263525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solidFill>
                  <a:schemeClr val="bg1"/>
                </a:solidFill>
              </a:rPr>
              <a:t>Policy, not ad-hoc</a:t>
            </a:r>
            <a:endParaRPr lang="en-US" sz="1400" dirty="0">
              <a:solidFill>
                <a:schemeClr val="bg1"/>
              </a:solidFill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DDFC6CBE-0469-931B-A218-EE82E6B919A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641975" y="2854325"/>
            <a:ext cx="5724525" cy="720725"/>
          </a:xfrm>
          <a:prstGeom prst="chevron">
            <a:avLst>
              <a:gd name="adj" fmla="val 18282"/>
            </a:avLst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square" lIns="69850" tIns="73025" rIns="46038" bIns="71438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i="1" dirty="0"/>
              <a:t>A policy-driven approach promotes transparency and reassures staff that the company will help when necessary, without sacrificing a market-driven basis for compensation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72757EB2-67AA-8C96-4699-DC471535DF8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38200" y="4303713"/>
            <a:ext cx="4935538" cy="720725"/>
          </a:xfrm>
          <a:prstGeom prst="homePlate">
            <a:avLst>
              <a:gd name="adj" fmla="val 18282"/>
            </a:avLst>
          </a:prstGeom>
          <a:solidFill>
            <a:srgbClr val="2C5E28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71438" tIns="265113" rIns="0" bIns="263525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solidFill>
                  <a:schemeClr val="bg1"/>
                </a:solidFill>
              </a:rPr>
              <a:t>Market intelligence is key</a:t>
            </a:r>
            <a:endParaRPr lang="en-US" sz="1400" dirty="0">
              <a:solidFill>
                <a:schemeClr val="bg1"/>
              </a:solidFill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B7A1984-D12A-3B1C-1804-C86981233C2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641975" y="4303713"/>
            <a:ext cx="5724525" cy="720725"/>
          </a:xfrm>
          <a:prstGeom prst="chevron">
            <a:avLst>
              <a:gd name="adj" fmla="val 18282"/>
            </a:avLst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square" lIns="69850" tIns="168275" rIns="0" bIns="168275" rtlCol="0" anchor="ctr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i="1" dirty="0"/>
              <a:t>You need reliable data, especially in the most dynamic global markets</a:t>
            </a:r>
          </a:p>
        </p:txBody>
      </p:sp>
    </p:spTree>
    <p:extLst>
      <p:ext uri="{BB962C8B-B14F-4D97-AF65-F5344CB8AC3E}">
        <p14:creationId xmlns:p14="http://schemas.microsoft.com/office/powerpoint/2010/main" val="29233448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7F92A9C-0F97-4857-796F-DD59F5C73C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8373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F92A9C-0F97-4857-796F-DD59F5C73C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9F7502-1020-0934-A878-DD1A8C093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dditional resourc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199" y="1323975"/>
            <a:ext cx="10515600" cy="456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2462213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1200"/>
              </a:spcAft>
              <a:buNone/>
            </a:pPr>
            <a:r>
              <a:rPr lang="en-US" altLang="en-US" sz="1400" b="1" dirty="0">
                <a:effectLst/>
              </a:rPr>
              <a:t>Birches Group Market Monitor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A bi-monthly update on economic conditions around the world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Free, but you must subscribe here:  </a:t>
            </a:r>
            <a:r>
              <a:rPr lang="en-US" sz="1400" dirty="0">
                <a:hlinkClick r:id="rId6"/>
              </a:rPr>
              <a:t>Register for Market Monitor</a:t>
            </a: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  <a:p>
            <a:pPr marL="0" indent="0">
              <a:spcBef>
                <a:spcPct val="0"/>
              </a:spcBef>
              <a:spcAft>
                <a:spcPts val="1200"/>
              </a:spcAft>
              <a:buNone/>
            </a:pPr>
            <a:r>
              <a:rPr lang="en-US" sz="1400" b="1" dirty="0"/>
              <a:t>2025 Compensation and Benefits Survey for the UK and in Over 150 Countries Globally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Bond members can enjoy a </a:t>
            </a:r>
            <a:r>
              <a:rPr lang="en-US" sz="1400" b="1" dirty="0"/>
              <a:t>10% discount </a:t>
            </a:r>
            <a:r>
              <a:rPr lang="en-US" sz="1400" dirty="0"/>
              <a:t>on survey fee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To avail your discount, send us an email and tell us you’re a member of Bond!</a:t>
            </a:r>
          </a:p>
          <a:p>
            <a:pPr marL="0" indent="0">
              <a:spcBef>
                <a:spcPct val="0"/>
              </a:spcBef>
              <a:spcAft>
                <a:spcPts val="1200"/>
              </a:spcAft>
              <a:buNone/>
            </a:pPr>
            <a:endParaRPr lang="en-US" sz="1400" b="1" dirty="0"/>
          </a:p>
          <a:p>
            <a:pPr marL="0" indent="0">
              <a:spcBef>
                <a:spcPct val="0"/>
              </a:spcBef>
              <a:spcAft>
                <a:spcPts val="1200"/>
              </a:spcAft>
              <a:buNone/>
            </a:pPr>
            <a:r>
              <a:rPr lang="en-US" sz="1400" b="1" dirty="0"/>
              <a:t>Contact us: </a:t>
            </a:r>
            <a:r>
              <a:rPr lang="en-US" sz="1400" dirty="0"/>
              <a:t>  </a:t>
            </a:r>
            <a:r>
              <a:rPr lang="en-US" sz="1400" dirty="0">
                <a:hlinkClick r:id="rId7"/>
              </a:rPr>
              <a:t>info@birchesgroup.com</a:t>
            </a:r>
            <a:r>
              <a:rPr lang="en-US" sz="1400" dirty="0"/>
              <a:t>	</a:t>
            </a:r>
            <a:r>
              <a:rPr lang="en-US" sz="1400" dirty="0">
                <a:hlinkClick r:id="rId8"/>
              </a:rPr>
              <a:t>www.birchesgroup.com</a:t>
            </a:r>
            <a:r>
              <a:rPr lang="en-US" sz="1400" dirty="0"/>
              <a:t> </a:t>
            </a:r>
            <a:br>
              <a:rPr lang="en-US" sz="1400" dirty="0"/>
            </a:br>
            <a:r>
              <a:rPr lang="en-US" sz="1400" dirty="0"/>
              <a:t>	</a:t>
            </a:r>
          </a:p>
          <a:p>
            <a:pPr marL="0" indent="0">
              <a:spcBef>
                <a:spcPct val="0"/>
              </a:spcBef>
              <a:spcAft>
                <a:spcPts val="1200"/>
              </a:spcAft>
              <a:buNone/>
            </a:pP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957211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47979B-4CEA-FA71-600B-44274373BE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E3D722E-7551-4034-EC4F-44D78521F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73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D722E-7551-4034-EC4F-44D78521F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5B748-46B4-01DC-D11F-C78D28D309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should employers set pay?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4CEA762-9B12-E868-CE05-1D8B0B9D5FCF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519238" y="1349375"/>
            <a:ext cx="4518025" cy="238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According to cost of living in the country?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According to headquarters pay, adjusted by foreign exchange?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Based on what’s advertised for jobs with similar titles in country?  Or in neighboring countries?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Using data obtained by calling friends who used to work in that country 3 years ago?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C1A7C711-47A2-050B-DEF5-34FE6D5B152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816725" y="1349375"/>
            <a:ext cx="4537075" cy="238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Based on relevant market data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In accordance with a documented compensation philosophy</a:t>
            </a:r>
            <a:br>
              <a:rPr lang="en-US" sz="1400" dirty="0"/>
            </a:b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Within the limits of the employer’s budget</a:t>
            </a:r>
            <a:br>
              <a:rPr lang="en-US" sz="1400" dirty="0"/>
            </a:b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Using a </a:t>
            </a:r>
            <a:r>
              <a:rPr lang="en-US" sz="1400" i="1" dirty="0"/>
              <a:t>cost of labor</a:t>
            </a:r>
            <a:r>
              <a:rPr lang="en-US" sz="1400" dirty="0"/>
              <a:t> approach</a:t>
            </a:r>
            <a:endParaRPr lang="en-US" sz="1400" i="1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  <a:p>
            <a:pPr>
              <a:spcBef>
                <a:spcPct val="0"/>
              </a:spcBef>
              <a:spcAft>
                <a:spcPts val="1200"/>
              </a:spcAft>
            </a:pPr>
            <a:endParaRPr lang="en-US" sz="1400" dirty="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61CDA7AC-BA06-920F-BC80-24D162C3025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8199" y="3851275"/>
            <a:ext cx="10515600" cy="252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72390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Setting pay should be based on a compensation philosophy, which identifies the specific, relevant market in which the employer competes for talent, and the market position targeted against that market.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Pay (usually) gets adjusted according to </a:t>
            </a:r>
            <a:r>
              <a:rPr lang="en-US" sz="1400" i="1" dirty="0"/>
              <a:t>market movement; </a:t>
            </a:r>
            <a:r>
              <a:rPr lang="en-US" sz="1400" dirty="0"/>
              <a:t>i.e., how much the target market moves each year.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Market movement </a:t>
            </a:r>
            <a:r>
              <a:rPr lang="en-US" sz="1400" b="1" dirty="0"/>
              <a:t>is independent </a:t>
            </a:r>
            <a:r>
              <a:rPr lang="en-US" sz="1400" dirty="0"/>
              <a:t>from cost of living (inflation) and currency devaluation.  It is heavily influenced by supply and demand of talent in a market.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1400" dirty="0"/>
              <a:t>In developing markets, especially smaller ones, it can be a challenge to find the right talent, particularly experienced professionals and managers.  The supply and demand for such talent is often very competitive.</a:t>
            </a:r>
          </a:p>
        </p:txBody>
      </p:sp>
      <p:pic>
        <p:nvPicPr>
          <p:cNvPr id="204" name="Graphic 203" descr="Checkbox Checked with solid fill">
            <a:extLst>
              <a:ext uri="{FF2B5EF4-FFF2-40B4-BE49-F238E27FC236}">
                <a16:creationId xmlns:a16="http://schemas.microsoft.com/office/drawing/2014/main" id="{2873A6AB-6F2E-5D74-DB4D-00B00F973C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88941" y="1347691"/>
            <a:ext cx="2133600" cy="2133600"/>
          </a:xfrm>
          <a:prstGeom prst="rect">
            <a:avLst/>
          </a:prstGeom>
        </p:spPr>
      </p:pic>
      <p:pic>
        <p:nvPicPr>
          <p:cNvPr id="206" name="Graphic 205" descr="No sign with solid fill">
            <a:extLst>
              <a:ext uri="{FF2B5EF4-FFF2-40B4-BE49-F238E27FC236}">
                <a16:creationId xmlns:a16="http://schemas.microsoft.com/office/drawing/2014/main" id="{3DBB9BC4-0943-7093-9700-F35AFC4C951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565401" y="1561614"/>
            <a:ext cx="1705754" cy="1705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06298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594D5-BF88-EA45-6A88-9B1B7CDB4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Birches Group Community™ Solu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E4CE3-0E3D-46C3-3B97-3B1D565AF666}"/>
              </a:ext>
            </a:extLst>
          </p:cNvPr>
          <p:cNvSpPr txBox="1">
            <a:spLocks/>
          </p:cNvSpPr>
          <p:nvPr/>
        </p:nvSpPr>
        <p:spPr>
          <a:xfrm>
            <a:off x="838200" y="1225550"/>
            <a:ext cx="10515600" cy="79575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Birches Group’s Community™ platform delivers an integrated workforce management solution that connects jobs to people, links development to performance, and addresses complex workforce challenges—all within a simple, powerful, and cohesive framework.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DCC66F9-A94E-90EB-4574-AE78619CDFED}"/>
              </a:ext>
            </a:extLst>
          </p:cNvPr>
          <p:cNvSpPr/>
          <p:nvPr/>
        </p:nvSpPr>
        <p:spPr>
          <a:xfrm>
            <a:off x="7949844" y="2180616"/>
            <a:ext cx="3582913" cy="1756611"/>
          </a:xfrm>
          <a:prstGeom prst="roundRect">
            <a:avLst>
              <a:gd name="adj" fmla="val 7149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pic>
        <p:nvPicPr>
          <p:cNvPr id="4" name="Picture 3" descr="A picture containing iPodDescription automatically generated">
            <a:extLst>
              <a:ext uri="{FF2B5EF4-FFF2-40B4-BE49-F238E27FC236}">
                <a16:creationId xmlns:a16="http://schemas.microsoft.com/office/drawing/2014/main" id="{267F864A-C3E2-0290-29B6-819D85B736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9610" y="2021305"/>
            <a:ext cx="4392780" cy="439278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 Box 8">
            <a:extLst>
              <a:ext uri="{FF2B5EF4-FFF2-40B4-BE49-F238E27FC236}">
                <a16:creationId xmlns:a16="http://schemas.microsoft.com/office/drawing/2014/main" id="{705C4BF3-0043-865B-21A2-B09F5C005AE2}"/>
              </a:ext>
            </a:extLst>
          </p:cNvPr>
          <p:cNvSpPr txBox="1">
            <a:spLocks/>
          </p:cNvSpPr>
          <p:nvPr/>
        </p:nvSpPr>
        <p:spPr>
          <a:xfrm>
            <a:off x="7482524" y="2262744"/>
            <a:ext cx="4050234" cy="80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>
              <a:lnSpc>
                <a:spcPct val="106000"/>
              </a:lnSpc>
              <a:spcAft>
                <a:spcPts val="800"/>
              </a:spcAft>
            </a:pPr>
            <a:r>
              <a:rPr lang="en-US" sz="1100" b="1" dirty="0">
                <a:solidFill>
                  <a:srgbClr val="00B0F0"/>
                </a:solidFill>
                <a:ea typeface="Calibri" panose="020F0502020204030204" pitchFamily="34" charset="0"/>
                <a:cs typeface="Droid Sans"/>
              </a:rPr>
              <a:t>Market </a:t>
            </a: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  <a:cs typeface="Droid Sans"/>
              </a:rPr>
              <a:t>aligns pay with external market conditions based on the equivalent worth of jobs, creating equitable salary scales that strike a balance between </a:t>
            </a:r>
            <a:r>
              <a:rPr lang="en-US" sz="1100" kern="120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ea typeface="Calibri" panose="020F0502020204030204" pitchFamily="34" charset="0"/>
                <a:cs typeface="Droid Sans"/>
              </a:rPr>
              <a:t>external competitiveness and internal cohesion.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ABFE0AF-588A-78CA-24C8-72B8E3C332BF}"/>
              </a:ext>
            </a:extLst>
          </p:cNvPr>
          <p:cNvSpPr txBox="1">
            <a:spLocks/>
          </p:cNvSpPr>
          <p:nvPr/>
        </p:nvSpPr>
        <p:spPr>
          <a:xfrm>
            <a:off x="8137979" y="3070422"/>
            <a:ext cx="3117364" cy="80791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0" indent="0"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None/>
              <a:defRPr lang="en-US" sz="1600" b="0" kern="1200" spc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902813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0" indent="-173736" algn="l" defTabSz="902813" rtl="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347472" indent="-173736"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b="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0" indent="0" algn="l" defTabSz="946071" rtl="0" eaLnBrk="1" latinLnBrk="0" hangingPunct="1">
              <a:lnSpc>
                <a:spcPct val="100000"/>
              </a:lnSpc>
              <a:spcBef>
                <a:spcPts val="544"/>
              </a:spcBef>
              <a:spcAft>
                <a:spcPts val="600"/>
              </a:spcAft>
              <a:buClr>
                <a:srgbClr val="5F5F5F"/>
              </a:buClr>
              <a:buFont typeface="+mj-lt"/>
              <a:buNone/>
              <a:defRPr lang="en-US" sz="1600" b="1" kern="1200" spc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4148" marR="0" indent="-164148" algn="l" defTabSz="903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 lang="en-US" sz="1200" kern="1200" spc="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7pPr>
            <a:lvl8pPr marL="325415" marR="0" indent="-164148" algn="l" defTabSz="903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 lang="en-GB" sz="1200" kern="1200" spc="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8pPr>
            <a:lvl9pPr marL="4020802" indent="-236518" algn="l" defTabSz="9460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spc="-3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arket data in 150+ countries</a:t>
            </a:r>
          </a:p>
          <a:p>
            <a:pPr marL="17144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eparate NGO sector surveys in 100 countries</a:t>
            </a:r>
          </a:p>
          <a:p>
            <a:pPr marL="17373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mpensation Consulting</a:t>
            </a:r>
          </a:p>
          <a:p>
            <a:pPr marL="17373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alary Scale Desig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DEBF232-9360-BA5F-B431-E02FFB474414}"/>
              </a:ext>
            </a:extLst>
          </p:cNvPr>
          <p:cNvSpPr/>
          <p:nvPr/>
        </p:nvSpPr>
        <p:spPr>
          <a:xfrm>
            <a:off x="648952" y="2180617"/>
            <a:ext cx="3582913" cy="1756611"/>
          </a:xfrm>
          <a:prstGeom prst="roundRect">
            <a:avLst>
              <a:gd name="adj" fmla="val 7149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4" name="Text Box 5">
            <a:extLst>
              <a:ext uri="{FF2B5EF4-FFF2-40B4-BE49-F238E27FC236}">
                <a16:creationId xmlns:a16="http://schemas.microsoft.com/office/drawing/2014/main" id="{7A0A501A-15C4-34A8-0C64-BB53E37F49E9}"/>
              </a:ext>
            </a:extLst>
          </p:cNvPr>
          <p:cNvSpPr txBox="1">
            <a:spLocks/>
          </p:cNvSpPr>
          <p:nvPr/>
        </p:nvSpPr>
        <p:spPr>
          <a:xfrm>
            <a:off x="282344" y="2262744"/>
            <a:ext cx="3832455" cy="62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>
              <a:lnSpc>
                <a:spcPct val="106000"/>
              </a:lnSpc>
              <a:spcAft>
                <a:spcPts val="800"/>
              </a:spcAft>
            </a:pPr>
            <a:r>
              <a:rPr lang="en-PH" sz="1100" b="1" kern="1200" dirty="0">
                <a:solidFill>
                  <a:srgbClr val="0070C0"/>
                </a:solidFill>
                <a:effectLst/>
                <a:ea typeface="Calibri" panose="020F0502020204030204" pitchFamily="34" charset="0"/>
                <a:cs typeface="Droid Sans"/>
              </a:rPr>
              <a:t>Jobs</a:t>
            </a:r>
            <a:r>
              <a:rPr lang="en-PH" sz="1100" kern="1200" dirty="0">
                <a:solidFill>
                  <a:srgbClr val="0070C0"/>
                </a:solidFill>
                <a:effectLst/>
                <a:ea typeface="Calibri" panose="020F0502020204030204" pitchFamily="34" charset="0"/>
                <a:cs typeface="Droid Sans"/>
              </a:rPr>
              <a:t> </a:t>
            </a:r>
            <a:r>
              <a:rPr lang="en-US" sz="1100" kern="120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ea typeface="Calibri" panose="020F0502020204030204" pitchFamily="34" charset="0"/>
                <a:cs typeface="Droid Sans"/>
              </a:rPr>
              <a:t>focuses on the evaluation and creation of grading structures based on Birches Group’s three job evaluation factors and 14 levels.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50E95B7-3819-6EF1-E308-53823DB6CEA4}"/>
              </a:ext>
            </a:extLst>
          </p:cNvPr>
          <p:cNvSpPr txBox="1">
            <a:spLocks/>
          </p:cNvSpPr>
          <p:nvPr/>
        </p:nvSpPr>
        <p:spPr>
          <a:xfrm>
            <a:off x="861078" y="2966606"/>
            <a:ext cx="3253721" cy="79252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0" indent="0"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None/>
              <a:defRPr lang="en-US" sz="1600" b="0" kern="1200" spc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902813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0" indent="-173736" algn="l" defTabSz="902813" rtl="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347472" indent="-173736"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b="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0" indent="0" algn="l" defTabSz="946071" rtl="0" eaLnBrk="1" latinLnBrk="0" hangingPunct="1">
              <a:lnSpc>
                <a:spcPct val="100000"/>
              </a:lnSpc>
              <a:spcBef>
                <a:spcPts val="544"/>
              </a:spcBef>
              <a:spcAft>
                <a:spcPts val="600"/>
              </a:spcAft>
              <a:buClr>
                <a:srgbClr val="5F5F5F"/>
              </a:buClr>
              <a:buFont typeface="+mj-lt"/>
              <a:buNone/>
              <a:defRPr lang="en-US" sz="1600" b="1" kern="1200" spc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4148" marR="0" indent="-164148" algn="l" defTabSz="903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 lang="en-US" sz="1200" kern="1200" spc="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7pPr>
            <a:lvl8pPr marL="325415" marR="0" indent="-164148" algn="l" defTabSz="903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 lang="en-GB" sz="1200" kern="1200" spc="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8pPr>
            <a:lvl9pPr marL="4020802" indent="-236518" algn="l" defTabSz="9460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spc="-3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Job Evaluation</a:t>
            </a:r>
          </a:p>
          <a:p>
            <a:pPr marL="17144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spc="-3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Job Descriptions</a:t>
            </a:r>
          </a:p>
          <a:p>
            <a:pPr marL="17144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spc="-3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Grade Structure Design</a:t>
            </a:r>
          </a:p>
          <a:p>
            <a:pPr marL="17144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spc="-3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mmunity™ Jobs App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8893CB5-D9BB-1865-84D0-91AAF80B4B9B}"/>
              </a:ext>
            </a:extLst>
          </p:cNvPr>
          <p:cNvSpPr/>
          <p:nvPr/>
        </p:nvSpPr>
        <p:spPr>
          <a:xfrm>
            <a:off x="648952" y="4554886"/>
            <a:ext cx="3582913" cy="1756611"/>
          </a:xfrm>
          <a:prstGeom prst="roundRect">
            <a:avLst>
              <a:gd name="adj" fmla="val 7149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7" name="Text Box 1">
            <a:extLst>
              <a:ext uri="{FF2B5EF4-FFF2-40B4-BE49-F238E27FC236}">
                <a16:creationId xmlns:a16="http://schemas.microsoft.com/office/drawing/2014/main" id="{5FEFC94D-0592-35DD-0C07-51427F791182}"/>
              </a:ext>
            </a:extLst>
          </p:cNvPr>
          <p:cNvSpPr txBox="1">
            <a:spLocks/>
          </p:cNvSpPr>
          <p:nvPr/>
        </p:nvSpPr>
        <p:spPr>
          <a:xfrm>
            <a:off x="282343" y="4673745"/>
            <a:ext cx="3943771" cy="62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>
              <a:lnSpc>
                <a:spcPct val="106000"/>
              </a:lnSpc>
              <a:spcAft>
                <a:spcPts val="800"/>
              </a:spcAft>
            </a:pPr>
            <a:r>
              <a:rPr lang="en-PH" sz="1100" b="1" kern="1200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Droid Sans"/>
              </a:rPr>
              <a:t>Performance</a:t>
            </a:r>
            <a:r>
              <a:rPr lang="en-PH" sz="1100" kern="1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Droid Sans"/>
              </a:rPr>
              <a:t> </a:t>
            </a:r>
            <a:r>
              <a:rPr lang="en-US" sz="1100" kern="1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Droid Sans"/>
              </a:rPr>
              <a:t>evaluates individual achievement against the expectations of the job through an easy-to-use management system, guided by three key questions:</a:t>
            </a:r>
            <a:endParaRPr lang="en-US" sz="1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D96C657F-E78C-F97A-F831-B1EC1B43F54B}"/>
              </a:ext>
            </a:extLst>
          </p:cNvPr>
          <p:cNvSpPr txBox="1">
            <a:spLocks/>
          </p:cNvSpPr>
          <p:nvPr/>
        </p:nvSpPr>
        <p:spPr>
          <a:xfrm>
            <a:off x="853084" y="5281831"/>
            <a:ext cx="3174648" cy="64633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0" indent="0"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None/>
              <a:defRPr lang="en-US" sz="1600" b="0" kern="1200" spc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902813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0" indent="-173736" algn="l" defTabSz="902813" rtl="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347472" indent="-173736"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b="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0" indent="0" algn="l" defTabSz="946071" rtl="0" eaLnBrk="1" latinLnBrk="0" hangingPunct="1">
              <a:lnSpc>
                <a:spcPct val="100000"/>
              </a:lnSpc>
              <a:spcBef>
                <a:spcPts val="544"/>
              </a:spcBef>
              <a:spcAft>
                <a:spcPts val="600"/>
              </a:spcAft>
              <a:buClr>
                <a:srgbClr val="5F5F5F"/>
              </a:buClr>
              <a:buFont typeface="+mj-lt"/>
              <a:buNone/>
              <a:defRPr lang="en-US" sz="1600" b="1" kern="1200" spc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4148" marR="0" indent="-164148" algn="l" defTabSz="903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 lang="en-US" sz="1200" kern="1200" spc="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7pPr>
            <a:lvl8pPr marL="325415" marR="0" indent="-164148" algn="l" defTabSz="903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 lang="en-GB" sz="1200" kern="1200" spc="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8pPr>
            <a:lvl9pPr marL="4020802" indent="-236518" algn="l" defTabSz="9460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  <a:buClr>
                <a:schemeClr val="tx2"/>
              </a:buClr>
            </a:pPr>
            <a:endParaRPr lang="en-US" sz="300" dirty="0">
              <a:solidFill>
                <a:schemeClr val="tx1">
                  <a:lumMod val="95000"/>
                  <a:lumOff val="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46" lvl="2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o you have good ideas?</a:t>
            </a:r>
          </a:p>
          <a:p>
            <a:pPr marL="171446" lvl="2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o you listen and adapt to customer needs?</a:t>
            </a:r>
          </a:p>
          <a:p>
            <a:pPr marL="171446" lvl="2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an I count on you to deliver?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B5EAC0DF-4BAC-46A1-D829-8AA1953EE3F8}"/>
              </a:ext>
            </a:extLst>
          </p:cNvPr>
          <p:cNvSpPr/>
          <p:nvPr/>
        </p:nvSpPr>
        <p:spPr>
          <a:xfrm>
            <a:off x="7949844" y="4554886"/>
            <a:ext cx="3582913" cy="1756611"/>
          </a:xfrm>
          <a:prstGeom prst="roundRect">
            <a:avLst>
              <a:gd name="adj" fmla="val 7149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20" name="Text Box 2">
            <a:extLst>
              <a:ext uri="{FF2B5EF4-FFF2-40B4-BE49-F238E27FC236}">
                <a16:creationId xmlns:a16="http://schemas.microsoft.com/office/drawing/2014/main" id="{E1488794-64A1-45DA-14DF-2D6886375C91}"/>
              </a:ext>
            </a:extLst>
          </p:cNvPr>
          <p:cNvSpPr txBox="1">
            <a:spLocks/>
          </p:cNvSpPr>
          <p:nvPr/>
        </p:nvSpPr>
        <p:spPr>
          <a:xfrm>
            <a:off x="7587866" y="4637017"/>
            <a:ext cx="3879603" cy="62299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>
              <a:lnSpc>
                <a:spcPct val="106000"/>
              </a:lnSpc>
              <a:spcAft>
                <a:spcPts val="800"/>
              </a:spcAft>
            </a:pPr>
            <a:r>
              <a:rPr lang="en-PH" sz="1100" b="1" kern="1200" dirty="0">
                <a:solidFill>
                  <a:srgbClr val="FF0000"/>
                </a:solidFill>
                <a:effectLst/>
                <a:ea typeface="Calibri"/>
                <a:cs typeface="Droid Sans"/>
              </a:rPr>
              <a:t>Skills</a:t>
            </a:r>
            <a:r>
              <a:rPr lang="en-PH" sz="1100" kern="1200" dirty="0">
                <a:solidFill>
                  <a:srgbClr val="000000"/>
                </a:solidFill>
                <a:effectLst/>
                <a:ea typeface="Calibri"/>
                <a:cs typeface="Droid Sans"/>
              </a:rPr>
              <a:t> focuses on the measurement of employees' accumulated</a:t>
            </a:r>
            <a:r>
              <a:rPr lang="en-PH" sz="1100" dirty="0">
                <a:solidFill>
                  <a:srgbClr val="000000"/>
                </a:solidFill>
                <a:ea typeface="Calibri"/>
                <a:cs typeface="Droid Sans"/>
              </a:rPr>
              <a:t> knowledge and contributions aligned to </a:t>
            </a:r>
            <a:r>
              <a:rPr lang="en-PH" sz="1100">
                <a:solidFill>
                  <a:srgbClr val="000000"/>
                </a:solidFill>
                <a:ea typeface="Calibri"/>
                <a:cs typeface="Droid Sans"/>
              </a:rPr>
              <a:t>the job </a:t>
            </a:r>
            <a:endParaRPr lang="en-US" sz="1100" dirty="0">
              <a:effectLst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7861B02-3968-85C7-1317-ABEC21BE3CE9}"/>
              </a:ext>
            </a:extLst>
          </p:cNvPr>
          <p:cNvSpPr txBox="1">
            <a:spLocks/>
          </p:cNvSpPr>
          <p:nvPr/>
        </p:nvSpPr>
        <p:spPr>
          <a:xfrm>
            <a:off x="8137979" y="5250307"/>
            <a:ext cx="3329489" cy="96180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0" indent="0"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None/>
              <a:defRPr lang="en-US" sz="1600" b="0" kern="1200" spc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902813" rtl="0"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0" indent="-173736" algn="l" defTabSz="902813" rtl="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347472" indent="-173736" algn="l" defTabSz="946009" rtl="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1200" b="0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0" indent="0" algn="l" defTabSz="946071" rtl="0" eaLnBrk="1" latinLnBrk="0" hangingPunct="1">
              <a:lnSpc>
                <a:spcPct val="100000"/>
              </a:lnSpc>
              <a:spcBef>
                <a:spcPts val="544"/>
              </a:spcBef>
              <a:spcAft>
                <a:spcPts val="600"/>
              </a:spcAft>
              <a:buClr>
                <a:srgbClr val="5F5F5F"/>
              </a:buClr>
              <a:buFont typeface="+mj-lt"/>
              <a:buNone/>
              <a:defRPr lang="en-US" sz="1600" b="1" kern="1200" spc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4148" marR="0" indent="-164148" algn="l" defTabSz="903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 lang="en-US" sz="1200" kern="1200" spc="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7pPr>
            <a:lvl8pPr marL="325415" marR="0" indent="-164148" algn="l" defTabSz="903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 lang="en-GB" sz="1200" kern="1200" spc="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8pPr>
            <a:lvl9pPr marL="4020802" indent="-236518" algn="l" defTabSz="9460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8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spc="-3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Base job interviews and starting pay entirely on the candidate’s skill level</a:t>
            </a:r>
          </a:p>
          <a:p>
            <a:pPr marL="17144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easure the skill levels of staff</a:t>
            </a:r>
          </a:p>
          <a:p>
            <a:pPr marL="17373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ailor learning and development assignments </a:t>
            </a:r>
          </a:p>
          <a:p>
            <a:pPr marL="173736" indent="-171446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upport career pathing</a:t>
            </a:r>
          </a:p>
        </p:txBody>
      </p:sp>
    </p:spTree>
    <p:extLst>
      <p:ext uri="{BB962C8B-B14F-4D97-AF65-F5344CB8AC3E}">
        <p14:creationId xmlns:p14="http://schemas.microsoft.com/office/powerpoint/2010/main" val="41509065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699EE47-A815-54E5-ED3D-48A585752F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938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99EE47-A815-54E5-ED3D-48A585752F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9EA3F1-B4ED-8E64-D12A-BB448BE82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 a developing country, the pay curve resembles a hockey stick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FE5B527-BE6A-EDD7-B26B-D7A767DCB80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550" b="98740" l="913" r="97121">
                        <a14:foregroundMark x1="12219" y1="3973" x2="62360" y2="76841"/>
                        <a14:foregroundMark x1="62360" y1="76841" x2="76966" y2="84302"/>
                        <a14:foregroundMark x1="91503" y1="6298" x2="19733" y2="71705"/>
                        <a14:foregroundMark x1="19733" y1="71705" x2="10674" y2="75872"/>
                        <a14:foregroundMark x1="8989" y1="19767" x2="50913" y2="14535"/>
                        <a14:foregroundMark x1="50913" y1="14535" x2="79846" y2="15116"/>
                        <a14:foregroundMark x1="79846" y1="15116" x2="94382" y2="49419"/>
                        <a14:foregroundMark x1="94382" y1="49419" x2="89817" y2="77229"/>
                        <a14:foregroundMark x1="89817" y1="77229" x2="54565" y2="87984"/>
                        <a14:foregroundMark x1="54565" y1="87984" x2="24368" y2="71318"/>
                        <a14:foregroundMark x1="24368" y1="71318" x2="9480" y2="22287"/>
                        <a14:foregroundMark x1="9480" y1="22287" x2="27177" y2="8527"/>
                        <a14:foregroundMark x1="27177" y1="8527" x2="82374" y2="11531"/>
                        <a14:foregroundMark x1="82374" y1="11531" x2="92346" y2="46221"/>
                        <a14:foregroundMark x1="92346" y1="46221" x2="92697" y2="84787"/>
                        <a14:foregroundMark x1="92697" y1="84787" x2="60815" y2="70640"/>
                        <a14:foregroundMark x1="60815" y1="70640" x2="15520" y2="24516"/>
                        <a14:foregroundMark x1="15520" y1="24516" x2="5548" y2="52519"/>
                        <a14:foregroundMark x1="5548" y1="52519" x2="6882" y2="90891"/>
                        <a14:foregroundMark x1="6882" y1="90891" x2="36376" y2="98159"/>
                        <a14:foregroundMark x1="36376" y1="98159" x2="45225" y2="97093"/>
                        <a14:foregroundMark x1="45225" y1="97093" x2="45225" y2="97093"/>
                        <a14:foregroundMark x1="65169" y1="16957" x2="12219" y2="41764"/>
                        <a14:foregroundMark x1="12219" y1="41764" x2="12219" y2="41764"/>
                        <a14:foregroundMark x1="3581" y1="6492" x2="6601" y2="90504"/>
                        <a14:foregroundMark x1="6601" y1="90504" x2="7654" y2="88857"/>
                        <a14:foregroundMark x1="1053" y1="39632" x2="1053" y2="39632"/>
                        <a14:foregroundMark x1="1966" y1="53101" x2="1264" y2="66860"/>
                        <a14:foregroundMark x1="1264" y1="66860" x2="1264" y2="66860"/>
                        <a14:foregroundMark x1="4635" y1="91279" x2="4635" y2="91279"/>
                        <a14:foregroundMark x1="4284" y1="95252" x2="91433" y2="84302"/>
                        <a14:foregroundMark x1="91433" y1="84302" x2="92346" y2="84302"/>
                        <a14:foregroundMark x1="96840" y1="95155" x2="27388" y2="91764"/>
                        <a14:foregroundMark x1="79565" y1="25484" x2="68610" y2="74322"/>
                        <a14:foregroundMark x1="85393" y1="46124" x2="77177" y2="78295"/>
                        <a14:foregroundMark x1="97191" y1="5717" x2="95154" y2="77810"/>
                        <a14:foregroundMark x1="89466" y1="3004" x2="7233" y2="3973"/>
                        <a14:foregroundMark x1="7233" y1="3973" x2="6180" y2="2810"/>
                        <a14:foregroundMark x1="2949" y1="2035" x2="30337" y2="8818"/>
                        <a14:foregroundMark x1="25281" y1="1647" x2="4846" y2="1744"/>
                        <a14:foregroundMark x1="4846" y1="1744" x2="3652" y2="9496"/>
                        <a14:foregroundMark x1="62255" y1="24185" x2="13062" y2="64535"/>
                        <a14:foregroundMark x1="13062" y1="64535" x2="10183" y2="68895"/>
                        <a14:foregroundMark x1="3581" y1="72868" x2="2598" y2="84690"/>
                        <a14:foregroundMark x1="2598" y1="84690" x2="6110" y2="96221"/>
                        <a14:foregroundMark x1="6110" y1="96221" x2="15730" y2="98256"/>
                        <a14:foregroundMark x1="12360" y1="87694" x2="75211" y2="46705"/>
                        <a14:foregroundMark x1="75211" y1="46705" x2="77809" y2="42442"/>
                        <a14:foregroundMark x1="92978" y1="7171" x2="78020" y2="61434"/>
                        <a14:foregroundMark x1="78020" y1="61434" x2="77879" y2="65504"/>
                        <a14:foregroundMark x1="96348" y1="51357" x2="94522" y2="89632"/>
                        <a14:foregroundMark x1="94522" y1="89632" x2="89817" y2="98740"/>
                        <a14:foregroundMark x1="89817" y1="98740" x2="52528" y2="92733"/>
                        <a14:foregroundMark x1="52528" y1="92733" x2="51896" y2="92926"/>
                        <a14:foregroundMark x1="23104" y1="85950" x2="75772" y2="55911"/>
                        <a14:foregroundMark x1="75772" y1="55911" x2="75843" y2="55911"/>
                        <a14:foregroundMark x1="50070" y1="75484" x2="50070" y2="75484"/>
                        <a14:foregroundMark x1="53441" y1="71318" x2="55267" y2="85174"/>
                        <a14:foregroundMark x1="89747" y1="41957" x2="87570" y2="80911"/>
                        <a14:foregroundMark x1="87570" y1="80911" x2="87289" y2="81298"/>
                        <a14:foregroundMark x1="82233" y1="55233" x2="69382" y2="68023"/>
                        <a14:foregroundMark x1="93680" y1="18992" x2="86587" y2="31202"/>
                        <a14:foregroundMark x1="86587" y1="31202" x2="51545" y2="54554"/>
                        <a14:foregroundMark x1="35885" y1="64535" x2="24157" y2="68508"/>
                        <a14:foregroundMark x1="39466" y1="74322" x2="39466" y2="74322"/>
                        <a14:foregroundMark x1="31250" y1="68217" x2="50913" y2="65891"/>
                        <a14:backgroundMark x1="65730" y1="22287" x2="65590" y2="23934"/>
                        <a14:backgroundMark x1="65590" y1="21512" x2="63483" y2="22674"/>
                        <a14:backgroundMark x1="66713" y1="21512" x2="62851" y2="25000"/>
                        <a14:backgroundMark x1="66081" y1="20155" x2="65871" y2="2083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9918" y="1362636"/>
            <a:ext cx="6656294" cy="4823944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145462" y="1747838"/>
            <a:ext cx="3208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The difference from level to level is much higher for professional and manager levels compared to support roles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/>
              <a:t>For example:</a:t>
            </a:r>
          </a:p>
          <a:p>
            <a:pPr lvl="1"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/>
              <a:t>BG-6 midpoint is 26% higher than BG-5</a:t>
            </a:r>
          </a:p>
          <a:p>
            <a:pPr lvl="1"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BG-12 midpoint is 84% higher than BG-11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/>
              <a:t>Note this is raw data from 2023</a:t>
            </a:r>
          </a:p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altLang="en-US" sz="1400" dirty="0">
                <a:effectLst/>
              </a:rPr>
              <a:t>A proper employer salary structure would smooth out some of the irregularit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04913" y="3527426"/>
            <a:ext cx="1235075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158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26% midpoint difference</a:t>
            </a:r>
            <a:endParaRPr lang="en-US" sz="1400" b="1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5DDA57E-7D57-8142-AD5A-0D9478EEDC02}"/>
              </a:ext>
            </a:extLst>
          </p:cNvPr>
          <p:cNvCxnSpPr/>
          <p:nvPr/>
        </p:nvCxnSpPr>
        <p:spPr>
          <a:xfrm>
            <a:off x="1846729" y="3980329"/>
            <a:ext cx="593259" cy="93233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B0BF51-D9EB-7C07-6113-8C25086A584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706938" y="1555750"/>
            <a:ext cx="123507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84% midpoint difference</a:t>
            </a:r>
            <a:endParaRPr lang="en-US" sz="1400" b="1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9311611-9947-34BA-950C-DB8B1283A439}"/>
              </a:ext>
            </a:extLst>
          </p:cNvPr>
          <p:cNvCxnSpPr/>
          <p:nvPr/>
        </p:nvCxnSpPr>
        <p:spPr>
          <a:xfrm>
            <a:off x="5880848" y="1843882"/>
            <a:ext cx="593259" cy="93233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44622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29D041-32F7-7172-FE17-083AC2A467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089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29D041-32F7-7172-FE17-083AC2A467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5E474F97-12E4-003F-CC4B-628F49673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en economic volatility strikes, compensation management needs to adapt – it’s not business as usual</a:t>
            </a:r>
          </a:p>
        </p:txBody>
      </p:sp>
    </p:spTree>
    <p:extLst>
      <p:ext uri="{BB962C8B-B14F-4D97-AF65-F5344CB8AC3E}">
        <p14:creationId xmlns:p14="http://schemas.microsoft.com/office/powerpoint/2010/main" val="27542053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53ECFE-57D9-FC9C-C411-417188E3BF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188786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53ECFE-57D9-FC9C-C411-417188E3BF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en high inflation or devaluation occurs, it impacts all stakeholder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201" y="1277938"/>
            <a:ext cx="4805363" cy="1906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400" b="1" dirty="0">
                <a:effectLst/>
              </a:rPr>
              <a:t>Inflation</a:t>
            </a: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Measures the increase in cost of living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Typically issued by government statistics bureau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Market basket approach measures prices in country over time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Government statistics often unreliable; hard to get good data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endParaRPr lang="en-US" sz="14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76BFA7D-9ABC-DB3A-12D2-6888D905C81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38200" y="3227388"/>
            <a:ext cx="4805363" cy="1557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28575" rIns="0" bIns="7143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400" b="1" dirty="0">
                <a:effectLst/>
              </a:rPr>
              <a:t>Impact on NGOs</a:t>
            </a: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Donor budgets are fixed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Impact on price of local goods and supplies, especially imported items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Compensation increases over time</a:t>
            </a:r>
          </a:p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A67D21A2-A14A-2CE2-C263-741C8ABE5AF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8200" y="4784725"/>
            <a:ext cx="4805363" cy="172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400" b="1" dirty="0">
                <a:effectLst/>
              </a:rPr>
              <a:t>Impact on Staff</a:t>
            </a: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Desire to be kept “whole”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Concern about ability to maintain their standard of living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Can they afford staple items for their family?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Look to employer to help</a:t>
            </a:r>
          </a:p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4641564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85A4CB-65E8-996A-4408-0E559369F5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18BD840-7A04-60B7-9535-3BE0344116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395170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8BD840-7A04-60B7-9535-3BE0344116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CB97810-7360-0ECD-2CBA-ABF9E044D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en high inflation or devaluation occurs, it impacts all stakeholder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6367920-E037-A73A-7DC7-0484FBB692F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201" y="1277938"/>
            <a:ext cx="4805363" cy="1906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400" b="1" dirty="0">
                <a:effectLst/>
              </a:rPr>
              <a:t>Inflation</a:t>
            </a: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Measures the increase in cost of living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Typically issued by government statistics bureau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Market basket approach measures prices in country over time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Government statistics often unreliable; hard to get good data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endParaRPr lang="en-US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CD94100-651A-DAEA-5AD5-E73A79C3CD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84938" y="1277938"/>
            <a:ext cx="4868863" cy="194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30003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400" b="1" dirty="0">
                <a:effectLst/>
              </a:rPr>
              <a:t>Devaluation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Measures currency exchange rates, typically versus USD or other hard currency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Currency markets are volatile and react to many factors including political ones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/>
              <a:t>Exchange rates are widely available on a current basis</a:t>
            </a: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ts val="600"/>
              </a:spcAft>
            </a:pPr>
            <a:endParaRPr lang="en-US" sz="14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10FD59B-BE42-07AF-9FE2-A1FB7E229A5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8200" y="3227388"/>
            <a:ext cx="4805363" cy="1557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28575" rIns="0" bIns="7143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400" b="1" dirty="0">
                <a:effectLst/>
              </a:rPr>
              <a:t>Impact on NGOs</a:t>
            </a: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Donor budgets are fixed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Impact on price of local goods and supplies, especially imported items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Compensation increases over time</a:t>
            </a:r>
          </a:p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0B5F23A-8ADA-22D3-4E68-668A32A27AF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484938" y="3227388"/>
            <a:ext cx="4868863" cy="1557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8575" rIns="0" bIns="263525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400" b="1" dirty="0">
                <a:effectLst/>
              </a:rPr>
              <a:t>Impact on NGOs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Impact (positive and negative) on hard currency budgets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Increase in price for imported raw materials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Supply of hard currency through banking system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endParaRPr lang="en-US" sz="1400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90AE0394-5207-3D8F-0780-0E103F29B5A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38200" y="4784725"/>
            <a:ext cx="4805363" cy="191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192088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400" b="1" dirty="0">
                <a:effectLst/>
              </a:rPr>
              <a:t>Impact on Staff</a:t>
            </a:r>
            <a:endParaRPr lang="en-US" altLang="en-US" sz="1400" dirty="0">
              <a:effectLst/>
            </a:endParaRP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Desire to be kept “whole”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Concern about ability to maintain their standard of living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Can they afford staple items for their family?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Look to employer to help</a:t>
            </a:r>
          </a:p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5216A4AB-74D0-4D55-C289-FC34F9CC9CC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484938" y="4784725"/>
            <a:ext cx="4868863" cy="191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400" b="1" dirty="0">
                <a:effectLst/>
              </a:rPr>
              <a:t>Impact on Staff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Making less in hard currency terms (does that really matter?)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Imported goods will increase in price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Ability to cover offshore expenses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altLang="en-US" sz="1400" dirty="0">
                <a:effectLst/>
              </a:rPr>
              <a:t>Will seek in-kind benefits rather than currency (keeps value)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96002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81A37F3-804F-4644-5270-8406D6B78F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730989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1A37F3-804F-4644-5270-8406D6B78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26F7D79-8486-A5C0-39BB-E0D869FDE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631" y="435130"/>
            <a:ext cx="10515600" cy="2442541"/>
          </a:xfrm>
        </p:spPr>
        <p:txBody>
          <a:bodyPr vert="horz"/>
          <a:lstStyle/>
          <a:p>
            <a:r>
              <a:rPr lang="en-US" dirty="0"/>
              <a:t>Deep Dive: Ethiopi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34D1721-E767-3D83-2721-60298F0909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4814047" y="2545976"/>
            <a:ext cx="2868706" cy="143435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85371E8-7632-3C4A-ADA5-1A7187B6BE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0" y="6251575"/>
            <a:ext cx="6248400" cy="606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46038" tIns="0" rIns="0" bIns="358775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900" dirty="0"/>
              <a:t>Image:  By Drawn by </a:t>
            </a:r>
            <a:r>
              <a:rPr lang="en-US" altLang="en-US" sz="900" dirty="0" err="1"/>
              <a:t>User:SKopp</a:t>
            </a:r>
            <a:r>
              <a:rPr lang="en-US" altLang="en-US" sz="900" dirty="0"/>
              <a:t> - http://www.ethiopar.net/type/Amharic/</a:t>
            </a:r>
            <a:r>
              <a:rPr lang="en-US" altLang="en-US" sz="900" dirty="0" err="1"/>
              <a:t>hopre</a:t>
            </a:r>
            <a:r>
              <a:rPr lang="en-US" altLang="en-US" sz="900" dirty="0"/>
              <a:t>/bills/1998/654.ae..pdf (Unreachable) </a:t>
            </a:r>
            <a:r>
              <a:rPr lang="en-US" altLang="en-US" sz="900" dirty="0" err="1"/>
              <a:t>User:Lin</a:t>
            </a:r>
            <a:r>
              <a:rPr lang="en-US" altLang="en-US" sz="900" dirty="0"/>
              <a:t> Kuei Warriors, Public Domain, https://commons.wikimedia.org/w/index.php?curid=343048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945695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4.31703100000000006276E+00&quot;&gt;&lt;m_msothmcolidx val=&quot;0&quot;/&gt;&lt;m_rgb r=&quot;2C&quot; g=&quot;5E&quot; b=&quot;28&quot;/&gt;&lt;/elem&gt;&lt;elem m_fUsage=&quot;9.00000000000000022204E-01&quot;&gt;&lt;m_msothmcolidx val=&quot;0&quot;/&gt;&lt;m_rgb r=&quot;32&quot; g=&quot;CD&quot; b=&quot;32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85.xPAMBxiv.oxH2WfO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XTyYJ3EPaamO2jxtmV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pdlNw0rpSTyYFCZVOJb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lTdSmp1QdG7_GfNUaI1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LKiZYPBNMAdURXn5YIG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js3zLHL5S0OiQ.BZYIM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Rhq11Pt9p2DkBxrH4uQ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v9SCayc65a0s17edX2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wcgOY7n4FnJR0X6qK_o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_XA64ZxVUGJLyObUNp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FFOVRrw0WVq8lTXpgS7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RuO6vsTnIO6e1aYypdB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KaDksmD9YwoCFsat7t5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tcA81sDjQ4oEFUP6Khj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QDwpcEO3l8nwQuKu6W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NLCJ8qgGshrKXI_yI_P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TZ4SkfhiQd3QArsctg7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V5r2PoWxxXrxIVwGK.Z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cLvUDoKUwN7cf._f23V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VokeQmiOefddXjk1S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z9EXlLSE.Ma5jP.icKP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6baUXDnkqiul5JC_sPL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A2TPdxJKFk3Gn3VDxbm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gNh2WzmF3GZP9bllJe9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e.py4D.124MIaZaWqMR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hXw8JhUB1R_MmCFatTu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bDONI3H4rdSSykacleL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_Y3Z7uqQjmdKjrZhTa6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9umhM43J8NL9PMFs0e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35iXK0Im.xM8A.nHhf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85.xPAMBxiv.oxH2WfO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Y121M7M00.MaC8d1lav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pomwtl7fxmPMvW4MlzQ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sGdbciUcIEgxwrx8ae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dwGPORieT1LZWf8siTk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eyCL.tFVU5juYs7mU4C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GpcMDX87hOPu21BXhxU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Ec2sNhBGAPhWWUHdQNC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qSYll1Bpraw7s08pTGH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4peaCuvFsIub.Nhp4L9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bvG6zkNrIQ0MOct3to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fH46w.xlSeSEzR2V94y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fH46w.xlSeSEzR2V94y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RdZo9OhHjtXtlsGsby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IcN3iL6uEoTCk.I8V22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kK4yHsAh7j6XPqjMtGv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nDhbnV_KpVqyqHJ3Okn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DuPkI3RPL9tpJ_4FL8i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QMRTNfH6HfRVCTjDXEu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Ll8kQIWmBPs6haaLo_.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Zoa2fDlWPxMl.8.1Zf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7FI0qLN4qEc11YqH17K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kX8jn1JjLQOLFUIWh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3UMak._p.n4wSjH06Cy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ActUWeE7Jt3v3o40PFJ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AcGnyYezQ3noM_XF5c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Gb9awlSvl7R6tl7qZ68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9n6rWef9HdCGc19nytC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rz7Kmkfw5bKitanOy5t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bfjvPVswDOr8ZJhpIOp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tmc3vYSlTiOUFw7eH83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Mpsnty7NetUs28enHH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bp_ewn3uzwYXLMzSnrD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riqUDRn9REgHz6RRUJT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SxNMgvI9xXygb0zJKcD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W1MogLgE6HzQFpH.3Zr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C6Km1J3g5EHI4O_.K70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giZd9mjiTjU9AdoudCe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ShZWT4d_GulKrndRgwW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EQM1UHJZYgOFhei6Un8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E1zHuwKx4ThrAI.MrvS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Rh4EURjd.P7norgUMrY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gqCBuojmtRT9GH06m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YuyRpdB5iEjq2qsjbRG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yUAMohZwl9I_ks5RvIP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3Tc2iTOMgLXFqKdQ4DD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J4e7yFx.vvTplX1ugiq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EzY9hBMuZk2MHTHHRt_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noAJntFDhMkRt4tfe6i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7BtZGpwtfWvH5vgXnFu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kX8jn1JjLQOLFUIWhH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018IAtJJABtAyNTZVWb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1ZOy4.Q58Vmv3Vu9FqM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HYfcOquSbwzVj6BFXd5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7nzUuXD7uxNzepGGvF6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30UA0s0sFFEEsRScZvl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WkNMXI_mfWUzKML42Co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xzteTGJlO7DtouTh7o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2l3lUDrgGnqIxvB5vd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aY6iXyaCak27wxXmPb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rATa0X1kIm_tCT275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RjCJZcHntBfHzSmhaH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aY6iXyaCak27wxXmPb1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p8rYedtf5HLU7_UbGR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rATa0X1kIm_tCT275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a_kPOiQoGJ84tKpjaW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RjCJZcHntBfHzSmhaH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AieIU23qUNMwrs4gCJ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I.SuDLsNDeJnogv9V7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U8zrmsIwIN19MWFphA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3SGR_UFBzG_kyoiSWM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eK6vQZ0ebmvetSBZu0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f4iB1ImPTTDK.0XN42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NTH6.dvb2ZdfFyBXrh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8SAWs8XEkWLitJXGWb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Xrv9iY9VDJMsV6yfZlX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tg._XQm.Bdfyr3lYie_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rf39.M6oAjW_zo3psyC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M9MwegBwDmSFgcwGrV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Xa4VriEcrxv4UxG0K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wySDbYdw9nBRYIwNqq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CtI6M4oboJzEGvc2TgM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71Fyyprx6lDrQsLWBbq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Xs3b.CNrSXUhuVGSS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wJfqHVy5dqzkUKWy9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Ihd3FnbhlANnI3jHk95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v41sze8kWc.EhzadS0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zmjcMgtsn1wbqgyoI7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VoTgJA0j_Cn2j2WE6r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F5VLFaejR.9sH2AJcz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xQPIJ7MOYQCSq._1UMq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NKUST9h6Th_K2Kzymz_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6Od0iDBgw6GDjCXSLO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m.RFW_w9DRA7JU51Eq0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X1WNDsj8Eg4QR9svh4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XyexjEqF5atFIwY9Qg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ByAi8HdsGrwuWumHsgK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uH6R35WJIU8gwwEH9KM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l9ADIG8ErLd756liZsb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7gEG.uQSb8optAcE2p_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pnft833oDuWKsG7hGC1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8B3c_LiTgVUKgpN6dBi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l6mJyLjEF7bbpApn3w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D0NZQ4Nfr_h0EnF335M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ZenkOqd8dOAlbBwyqo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eeprcNs55VGWFqkmr.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MAS_JPrhLraSyGigJd4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ClBW2RsguaC8pDUOlBa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cpuikRXylj3ZEd6pkyT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byuEPuOwvnf3SEUmq4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Xi0foWbZp6AdIeNChf2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2sFDyLauM6Jn14puwYA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NJuGKtaz0tNnKQsvw72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G1yAFEYKnGeyV9ztkpb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z3jOWskf_24ch6ggLc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d9Cys5K2rqhcXKbCvR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PldpT5k6.qSTjYasBxC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QWs9NUZNU.xd1up6XA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PiuVXwMB0H5AcZMN9Hd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ipWNltTLM.kvxCJudco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Jjo5gcKhkxB_9JwJK24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zM5NTO_G5DvhCRB0laZ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pdlNw0rpSTyYFCZVOJb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lTdSmp1QdG7_GfNUaI1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LKiZYPBNMAdURXn5YI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z9EXlLSE.Ma5jP.icKP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js3zLHL5S0OiQ.BZYIM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Rhq11Pt9p2DkBxrH4uQ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v9SCayc65a0s17edX2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wcgOY7n4FnJR0X6qK_o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_XA64ZxVUGJLyObUNp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FFOVRrw0WVq8lTXpgS7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RuO6vsTnIO6e1aYypdB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KaDksmD9YwoCFsat7t5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tcA81sDjQ4oEFUP6Khj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QDwpcEO3l8nwQuKu6Wuw"/>
</p:tagLst>
</file>

<file path=ppt/theme/theme1.xml><?xml version="1.0" encoding="utf-8"?>
<a:theme xmlns:a="http://schemas.openxmlformats.org/drawingml/2006/main" name="Presentation to Management Team - December 16 202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7E9D1D6B-FAB9-4152-B52B-2CE1DA2F819D}" vid="{8F842B9A-9687-4350-A005-818837F9EA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a5197499-1b6a-4623-99e6-9b222959ba33}" enabled="0" method="" siteId="{a5197499-1b6a-4623-99e6-9b222959ba3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emplate</Template>
  <TotalTime>2406</TotalTime>
  <Words>2679</Words>
  <Application>Microsoft Office PowerPoint</Application>
  <PresentationFormat>Widescreen</PresentationFormat>
  <Paragraphs>453</Paragraphs>
  <Slides>4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0" baseType="lpstr">
      <vt:lpstr>Arial</vt:lpstr>
      <vt:lpstr>Calibri</vt:lpstr>
      <vt:lpstr>Georgia</vt:lpstr>
      <vt:lpstr>Lucida Sans</vt:lpstr>
      <vt:lpstr>Open Sans</vt:lpstr>
      <vt:lpstr>Skia</vt:lpstr>
      <vt:lpstr>Times</vt:lpstr>
      <vt:lpstr>Wingdings</vt:lpstr>
      <vt:lpstr>Presentation to Management Team - December 16 2020</vt:lpstr>
      <vt:lpstr>think-cell Slide</vt:lpstr>
      <vt:lpstr>Managing Compensation in Volatile Economic Conditions</vt:lpstr>
      <vt:lpstr>Today we will be discussing how to manage compensation under volatile economic conditions</vt:lpstr>
      <vt:lpstr>How should employers set pay?</vt:lpstr>
      <vt:lpstr>How should employers set pay?</vt:lpstr>
      <vt:lpstr>In a developing country, the pay curve resembles a hockey stick</vt:lpstr>
      <vt:lpstr>When economic volatility strikes, compensation management needs to adapt – it’s not business as usual</vt:lpstr>
      <vt:lpstr>When high inflation or devaluation occurs, it impacts all stakeholders</vt:lpstr>
      <vt:lpstr>When high inflation or devaluation occurs, it impacts all stakeholders</vt:lpstr>
      <vt:lpstr>Deep Dive: Ethiopia</vt:lpstr>
      <vt:lpstr>Ethiopia has a long history of currency volatility</vt:lpstr>
      <vt:lpstr>Inflation is high, causing purchasing power to deteriorate</vt:lpstr>
      <vt:lpstr>Typically, inflation and devaluation don’t differ much, though devaluation is often a leading indicator</vt:lpstr>
      <vt:lpstr>What did the market do from 2024 to 2025?</vt:lpstr>
      <vt:lpstr>It is clear labor markets move independently from inflation and devaluation</vt:lpstr>
      <vt:lpstr>Currently, the NGO market in Ethiopia is bifurcated due to the large number of employers adopting hard currency to set salaries</vt:lpstr>
      <vt:lpstr>There are now two distinct markets for NGOs in Ethiopia</vt:lpstr>
      <vt:lpstr>What happens when the situation is  unstable due to economic volatility?  </vt:lpstr>
      <vt:lpstr>What usually happens when there is a crisis</vt:lpstr>
      <vt:lpstr>You need a policy-driven approach</vt:lpstr>
      <vt:lpstr>“Special Measures” policies provide consistent and fast responses to crisis situations</vt:lpstr>
      <vt:lpstr>“Special Measures” policies provide consistent and fast responses to crisis situations</vt:lpstr>
      <vt:lpstr>How to Establish Special Measures</vt:lpstr>
      <vt:lpstr>Set a Trigger Point</vt:lpstr>
      <vt:lpstr>Define Your Response</vt:lpstr>
      <vt:lpstr>Monitor the Market</vt:lpstr>
      <vt:lpstr>Winding Down</vt:lpstr>
      <vt:lpstr>Special Measures Allowance Lifecycle</vt:lpstr>
      <vt:lpstr>Remember: The Hard Realities about Special Measures</vt:lpstr>
      <vt:lpstr>Communication and Clarity</vt:lpstr>
      <vt:lpstr>Regular Communication is Key</vt:lpstr>
      <vt:lpstr>Clients Often Ask: Should We Pay in Hard Currency*?</vt:lpstr>
      <vt:lpstr>No!</vt:lpstr>
      <vt:lpstr>Local Staff Should be Paid in Local Currency</vt:lpstr>
      <vt:lpstr>Switching to Hard Currency</vt:lpstr>
      <vt:lpstr>You can potentially lose control of your budget if you adopt hard currency salaries</vt:lpstr>
      <vt:lpstr>Special Measures for other types of crises</vt:lpstr>
      <vt:lpstr>The Importance of Clarity</vt:lpstr>
      <vt:lpstr>In summary</vt:lpstr>
      <vt:lpstr>Additional resources</vt:lpstr>
      <vt:lpstr>More Birches Group Community™ Solu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ry Rodin</dc:creator>
  <cp:lastModifiedBy>Bianca Valencia</cp:lastModifiedBy>
  <cp:revision>63</cp:revision>
  <dcterms:created xsi:type="dcterms:W3CDTF">2016-02-11T15:47:12Z</dcterms:created>
  <dcterms:modified xsi:type="dcterms:W3CDTF">2025-10-09T00:33:08Z</dcterms:modified>
</cp:coreProperties>
</file>